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2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.xml" ContentType="application/vnd.openxmlformats-officedocument.theme+xml"/>
  <Override PartName="/ppt/slideLayouts/slideLayout218.xml" ContentType="application/vnd.openxmlformats-officedocument.presentationml.slideLayout+xml"/>
  <Override PartName="/ppt/theme/theme4.xml" ContentType="application/vnd.openxmlformats-officedocument.theme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5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6.xml" ContentType="application/vnd.openxmlformats-officedocument.theme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7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theme/theme8.xml" ContentType="application/vnd.openxmlformats-officedocument.theme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theme/theme9.xml" ContentType="application/vnd.openxmlformats-officedocument.theme+xml"/>
  <Override PartName="/ppt/slideLayouts/slideLayout274.xml" ContentType="application/vnd.openxmlformats-officedocument.presentationml.slideLayout+xml"/>
  <Override PartName="/ppt/theme/theme10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theme/theme11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theme/theme12.xml" ContentType="application/vnd.openxmlformats-officedocument.theme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theme/theme13.xml" ContentType="application/vnd.openxmlformats-officedocument.theme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theme/theme15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theme/theme16.xml" ContentType="application/vnd.openxmlformats-officedocument.theme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modernComment_38B_EC4243AA.xml" ContentType="application/vnd.ms-powerpoint.comment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237" r:id="rId1"/>
    <p:sldMasterId id="2147485279" r:id="rId2"/>
    <p:sldMasterId id="2147484819" r:id="rId3"/>
    <p:sldMasterId id="2147483963" r:id="rId4"/>
    <p:sldMasterId id="2147483933" r:id="rId5"/>
    <p:sldMasterId id="2147485290" r:id="rId6"/>
    <p:sldMasterId id="2147484009" r:id="rId7"/>
    <p:sldMasterId id="2147484811" r:id="rId8"/>
    <p:sldMasterId id="2147483846" r:id="rId9"/>
    <p:sldMasterId id="2147484818" r:id="rId10"/>
    <p:sldMasterId id="2147484638" r:id="rId11"/>
    <p:sldMasterId id="2147483706" r:id="rId12"/>
    <p:sldMasterId id="2147485249" r:id="rId13"/>
    <p:sldMasterId id="2147484858" r:id="rId14"/>
    <p:sldMasterId id="2147485034" r:id="rId15"/>
    <p:sldMasterId id="2147484039" r:id="rId16"/>
    <p:sldMasterId id="2147485339" r:id="rId17"/>
  </p:sldMasterIdLst>
  <p:notesMasterIdLst>
    <p:notesMasterId r:id="rId57"/>
  </p:notesMasterIdLst>
  <p:sldIdLst>
    <p:sldId id="257" r:id="rId18"/>
    <p:sldId id="258" r:id="rId19"/>
    <p:sldId id="910" r:id="rId20"/>
    <p:sldId id="264" r:id="rId21"/>
    <p:sldId id="897" r:id="rId22"/>
    <p:sldId id="898" r:id="rId23"/>
    <p:sldId id="922" r:id="rId24"/>
    <p:sldId id="278" r:id="rId25"/>
    <p:sldId id="905" r:id="rId26"/>
    <p:sldId id="348" r:id="rId27"/>
    <p:sldId id="333" r:id="rId28"/>
    <p:sldId id="924" r:id="rId29"/>
    <p:sldId id="923" r:id="rId30"/>
    <p:sldId id="908" r:id="rId31"/>
    <p:sldId id="909" r:id="rId32"/>
    <p:sldId id="917" r:id="rId33"/>
    <p:sldId id="916" r:id="rId34"/>
    <p:sldId id="915" r:id="rId35"/>
    <p:sldId id="911" r:id="rId36"/>
    <p:sldId id="913" r:id="rId37"/>
    <p:sldId id="918" r:id="rId38"/>
    <p:sldId id="912" r:id="rId39"/>
    <p:sldId id="899" r:id="rId40"/>
    <p:sldId id="902" r:id="rId41"/>
    <p:sldId id="388" r:id="rId42"/>
    <p:sldId id="864" r:id="rId43"/>
    <p:sldId id="926" r:id="rId44"/>
    <p:sldId id="903" r:id="rId45"/>
    <p:sldId id="900" r:id="rId46"/>
    <p:sldId id="906" r:id="rId47"/>
    <p:sldId id="907" r:id="rId48"/>
    <p:sldId id="919" r:id="rId49"/>
    <p:sldId id="881" r:id="rId50"/>
    <p:sldId id="895" r:id="rId51"/>
    <p:sldId id="896" r:id="rId52"/>
    <p:sldId id="925" r:id="rId53"/>
    <p:sldId id="294" r:id="rId54"/>
    <p:sldId id="921" r:id="rId55"/>
    <p:sldId id="920" r:id="rId5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3DD2E62-D09D-34B2-5473-EF88E7B0766E}" v="92" dt="2023-05-31T14:49:03.468"/>
    <p1510:client id="{1958EAAB-81A4-E907-3226-26E32BBAC078}" v="5" dt="2023-05-03T15:52:31.681"/>
    <p1510:client id="{1C247187-E216-726F-8761-F34E6C09D235}" v="218" dt="2023-06-05T13:31:10.413"/>
    <p1510:client id="{22721C68-B09F-1C70-653A-802F9530E043}" v="97" dt="2023-06-02T20:15:22.253"/>
    <p1510:client id="{24540DEF-9E53-4257-0ECE-09C288589E2C}" v="1806" dt="2023-06-01T22:13:50.147"/>
    <p1510:client id="{31999E2D-71B0-DC04-7C8C-FEE09623BF45}" v="344" dt="2023-06-02T15:44:08.675"/>
    <p1510:client id="{8BE5AEBD-7036-9A07-BEC7-3EA291F6C640}" v="21" dt="2023-06-02T18:21:15.503"/>
    <p1510:client id="{9F8604C4-85EE-71DF-B67E-9BC7F0AC5F75}" v="82" dt="2023-06-02T15:39:55.008"/>
    <p1510:client id="{A06B4DA2-271D-C1C1-D76C-A477BE73E9DD}" v="5" dt="2023-05-11T19:59:06.231"/>
    <p1510:client id="{F1DC9DF9-DC87-70C1-3EFD-500367658E52}" v="279" dt="2023-05-31T19:37:00.3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661"/>
  </p:normalViewPr>
  <p:slideViewPr>
    <p:cSldViewPr snapToGrid="0">
      <p:cViewPr varScale="1">
        <p:scale>
          <a:sx n="81" d="100"/>
          <a:sy n="81" d="100"/>
        </p:scale>
        <p:origin x="72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slide" Target="slides/slide25.xml"/><Relationship Id="rId47" Type="http://schemas.openxmlformats.org/officeDocument/2006/relationships/slide" Target="slides/slide30.xml"/><Relationship Id="rId50" Type="http://schemas.openxmlformats.org/officeDocument/2006/relationships/slide" Target="slides/slide33.xml"/><Relationship Id="rId55" Type="http://schemas.openxmlformats.org/officeDocument/2006/relationships/slide" Target="slides/slide38.xml"/><Relationship Id="rId63" Type="http://schemas.microsoft.com/office/2018/10/relationships/authors" Target="author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2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slide" Target="slides/slide28.xml"/><Relationship Id="rId53" Type="http://schemas.openxmlformats.org/officeDocument/2006/relationships/slide" Target="slides/slide36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tableStyles" Target="tableStyles.xml"/><Relationship Id="rId19" Type="http://schemas.openxmlformats.org/officeDocument/2006/relationships/slide" Target="slides/slide2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slide" Target="slides/slide26.xml"/><Relationship Id="rId48" Type="http://schemas.openxmlformats.org/officeDocument/2006/relationships/slide" Target="slides/slide31.xml"/><Relationship Id="rId56" Type="http://schemas.openxmlformats.org/officeDocument/2006/relationships/slide" Target="slides/slide39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4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slide" Target="slides/slide29.xml"/><Relationship Id="rId59" Type="http://schemas.openxmlformats.org/officeDocument/2006/relationships/viewProps" Target="viewProps.xml"/><Relationship Id="rId20" Type="http://schemas.openxmlformats.org/officeDocument/2006/relationships/slide" Target="slides/slide3.xml"/><Relationship Id="rId41" Type="http://schemas.openxmlformats.org/officeDocument/2006/relationships/slide" Target="slides/slide24.xml"/><Relationship Id="rId54" Type="http://schemas.openxmlformats.org/officeDocument/2006/relationships/slide" Target="slides/slide37.xml"/><Relationship Id="rId62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openxmlformats.org/officeDocument/2006/relationships/slide" Target="slides/slide32.xml"/><Relationship Id="rId57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4.xml"/><Relationship Id="rId44" Type="http://schemas.openxmlformats.org/officeDocument/2006/relationships/slide" Target="slides/slide27.xml"/><Relationship Id="rId52" Type="http://schemas.openxmlformats.org/officeDocument/2006/relationships/slide" Target="slides/slide35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BE%20Hospital%20Structure%20Measures%20Da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1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'!$B$1:$W$1</c:f>
              <c:strCache>
                <c:ptCount val="22"/>
                <c:pt idx="0">
                  <c:v>Baseline Q4 2020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'!$B$2:$W$2</c:f>
              <c:numCache>
                <c:formatCode>General</c:formatCode>
                <c:ptCount val="22"/>
                <c:pt idx="0">
                  <c:v>16.75</c:v>
                </c:pt>
                <c:pt idx="1">
                  <c:v>20</c:v>
                </c:pt>
                <c:pt idx="2">
                  <c:v>19.670000000000002</c:v>
                </c:pt>
                <c:pt idx="3">
                  <c:v>20.309999999999999</c:v>
                </c:pt>
                <c:pt idx="4">
                  <c:v>20.34</c:v>
                </c:pt>
                <c:pt idx="5">
                  <c:v>26.23</c:v>
                </c:pt>
                <c:pt idx="6">
                  <c:v>33.33</c:v>
                </c:pt>
                <c:pt idx="7">
                  <c:v>34.33</c:v>
                </c:pt>
                <c:pt idx="8">
                  <c:v>37.880000000000003</c:v>
                </c:pt>
                <c:pt idx="9">
                  <c:v>41.27</c:v>
                </c:pt>
                <c:pt idx="10">
                  <c:v>46.88</c:v>
                </c:pt>
                <c:pt idx="11">
                  <c:v>48.44</c:v>
                </c:pt>
                <c:pt idx="12">
                  <c:v>56.72</c:v>
                </c:pt>
                <c:pt idx="13">
                  <c:v>56.25</c:v>
                </c:pt>
                <c:pt idx="14">
                  <c:v>59.32</c:v>
                </c:pt>
                <c:pt idx="15">
                  <c:v>58.18</c:v>
                </c:pt>
                <c:pt idx="16">
                  <c:v>67.86</c:v>
                </c:pt>
                <c:pt idx="17">
                  <c:v>70.37</c:v>
                </c:pt>
                <c:pt idx="18">
                  <c:v>81.430000000000007</c:v>
                </c:pt>
                <c:pt idx="19">
                  <c:v>84.62</c:v>
                </c:pt>
                <c:pt idx="20">
                  <c:v>79.03</c:v>
                </c:pt>
                <c:pt idx="21">
                  <c:v>85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38-4C49-94BA-03B1316B1F96}"/>
            </c:ext>
          </c:extLst>
        </c:ser>
        <c:ser>
          <c:idx val="1"/>
          <c:order val="1"/>
          <c:tx>
            <c:strRef>
              <c:f>'[BE Hospital Structure Measures Data.xlsx]Q1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'!$B$1:$W$1</c:f>
              <c:strCache>
                <c:ptCount val="22"/>
                <c:pt idx="0">
                  <c:v>Baseline Q4 2020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'!$B$3:$W$3</c:f>
              <c:numCache>
                <c:formatCode>General</c:formatCode>
                <c:ptCount val="22"/>
                <c:pt idx="0">
                  <c:v>19.46</c:v>
                </c:pt>
                <c:pt idx="1">
                  <c:v>36.92</c:v>
                </c:pt>
                <c:pt idx="2">
                  <c:v>45.9</c:v>
                </c:pt>
                <c:pt idx="3">
                  <c:v>54.69</c:v>
                </c:pt>
                <c:pt idx="4">
                  <c:v>61.02</c:v>
                </c:pt>
                <c:pt idx="5">
                  <c:v>55.74</c:v>
                </c:pt>
                <c:pt idx="6">
                  <c:v>51.52</c:v>
                </c:pt>
                <c:pt idx="7">
                  <c:v>53.73</c:v>
                </c:pt>
                <c:pt idx="8">
                  <c:v>54.55</c:v>
                </c:pt>
                <c:pt idx="9">
                  <c:v>55.56</c:v>
                </c:pt>
                <c:pt idx="10">
                  <c:v>51.56</c:v>
                </c:pt>
                <c:pt idx="11">
                  <c:v>50</c:v>
                </c:pt>
                <c:pt idx="12">
                  <c:v>40.299999999999997</c:v>
                </c:pt>
                <c:pt idx="13">
                  <c:v>42.19</c:v>
                </c:pt>
                <c:pt idx="14">
                  <c:v>38.979999999999997</c:v>
                </c:pt>
                <c:pt idx="15">
                  <c:v>41.82</c:v>
                </c:pt>
                <c:pt idx="16">
                  <c:v>32.14</c:v>
                </c:pt>
                <c:pt idx="17">
                  <c:v>29.63</c:v>
                </c:pt>
                <c:pt idx="18">
                  <c:v>18.57</c:v>
                </c:pt>
                <c:pt idx="19">
                  <c:v>15.38</c:v>
                </c:pt>
                <c:pt idx="20">
                  <c:v>20.97</c:v>
                </c:pt>
                <c:pt idx="21">
                  <c:v>14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38-4C49-94BA-03B1316B1F96}"/>
            </c:ext>
          </c:extLst>
        </c:ser>
        <c:ser>
          <c:idx val="2"/>
          <c:order val="2"/>
          <c:tx>
            <c:strRef>
              <c:f>'[BE Hospital Structure Measures Data.xlsx]Q1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'!$B$1:$W$1</c:f>
              <c:strCache>
                <c:ptCount val="22"/>
                <c:pt idx="0">
                  <c:v>Baseline Q4 2020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'!$B$4:$W$4</c:f>
              <c:numCache>
                <c:formatCode>General</c:formatCode>
                <c:ptCount val="22"/>
                <c:pt idx="0">
                  <c:v>63.78</c:v>
                </c:pt>
                <c:pt idx="1">
                  <c:v>43.08</c:v>
                </c:pt>
                <c:pt idx="2">
                  <c:v>34.43</c:v>
                </c:pt>
                <c:pt idx="3">
                  <c:v>25</c:v>
                </c:pt>
                <c:pt idx="4">
                  <c:v>18.64</c:v>
                </c:pt>
                <c:pt idx="5">
                  <c:v>18.03</c:v>
                </c:pt>
                <c:pt idx="6">
                  <c:v>15.15</c:v>
                </c:pt>
                <c:pt idx="7">
                  <c:v>11.94</c:v>
                </c:pt>
                <c:pt idx="8">
                  <c:v>7.58</c:v>
                </c:pt>
                <c:pt idx="9">
                  <c:v>3.17</c:v>
                </c:pt>
                <c:pt idx="10">
                  <c:v>1.56</c:v>
                </c:pt>
                <c:pt idx="11">
                  <c:v>1.56</c:v>
                </c:pt>
                <c:pt idx="12">
                  <c:v>2.99</c:v>
                </c:pt>
                <c:pt idx="13">
                  <c:v>1.56</c:v>
                </c:pt>
                <c:pt idx="14">
                  <c:v>1.69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38-4C49-94BA-03B1316B1F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93231103"/>
        <c:axId val="1793240671"/>
      </c:barChart>
      <c:catAx>
        <c:axId val="17932311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3240671"/>
        <c:crosses val="autoZero"/>
        <c:auto val="1"/>
        <c:lblAlgn val="ctr"/>
        <c:lblOffset val="100"/>
        <c:noMultiLvlLbl val="0"/>
      </c:catAx>
      <c:valAx>
        <c:axId val="179324067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32311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5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 w="25400">
              <a:noFill/>
            </a:ln>
            <a:effectLst/>
          </c:spPr>
          <c:invertIfNegative val="0"/>
          <c:cat>
            <c:strRef>
              <c:f>'[BE Hospital Structure Measures Data.xlsx]Q5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5'!$B$2:$W$2</c:f>
              <c:numCache>
                <c:formatCode>General</c:formatCode>
                <c:ptCount val="22"/>
                <c:pt idx="0">
                  <c:v>5.91</c:v>
                </c:pt>
                <c:pt idx="1">
                  <c:v>13.64</c:v>
                </c:pt>
                <c:pt idx="2">
                  <c:v>12.9</c:v>
                </c:pt>
                <c:pt idx="3">
                  <c:v>15.62</c:v>
                </c:pt>
                <c:pt idx="4">
                  <c:v>25.81</c:v>
                </c:pt>
                <c:pt idx="5">
                  <c:v>28.57</c:v>
                </c:pt>
                <c:pt idx="6">
                  <c:v>27.94</c:v>
                </c:pt>
                <c:pt idx="7">
                  <c:v>37.68</c:v>
                </c:pt>
                <c:pt idx="8">
                  <c:v>39.130000000000003</c:v>
                </c:pt>
                <c:pt idx="9">
                  <c:v>50.75</c:v>
                </c:pt>
                <c:pt idx="10">
                  <c:v>52.24</c:v>
                </c:pt>
                <c:pt idx="11">
                  <c:v>52.24</c:v>
                </c:pt>
                <c:pt idx="12">
                  <c:v>62.32</c:v>
                </c:pt>
                <c:pt idx="13">
                  <c:v>69.7</c:v>
                </c:pt>
                <c:pt idx="14">
                  <c:v>67.69</c:v>
                </c:pt>
                <c:pt idx="15">
                  <c:v>72.58</c:v>
                </c:pt>
                <c:pt idx="16">
                  <c:v>70.97</c:v>
                </c:pt>
                <c:pt idx="17">
                  <c:v>72.58</c:v>
                </c:pt>
                <c:pt idx="18">
                  <c:v>77.14</c:v>
                </c:pt>
                <c:pt idx="19">
                  <c:v>78.459999999999994</c:v>
                </c:pt>
                <c:pt idx="20">
                  <c:v>75.81</c:v>
                </c:pt>
                <c:pt idx="21">
                  <c:v>82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31E-42C0-B3F7-75D960F773AA}"/>
            </c:ext>
          </c:extLst>
        </c:ser>
        <c:ser>
          <c:idx val="1"/>
          <c:order val="1"/>
          <c:tx>
            <c:strRef>
              <c:f>'[BE Hospital Structure Measures Data.xlsx]Q5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 w="25400">
              <a:noFill/>
            </a:ln>
            <a:effectLst/>
          </c:spPr>
          <c:invertIfNegative val="0"/>
          <c:cat>
            <c:strRef>
              <c:f>'[BE Hospital Structure Measures Data.xlsx]Q5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5'!$B$3:$W$3</c:f>
              <c:numCache>
                <c:formatCode>General</c:formatCode>
                <c:ptCount val="22"/>
                <c:pt idx="0">
                  <c:v>29.57</c:v>
                </c:pt>
                <c:pt idx="1">
                  <c:v>46.97</c:v>
                </c:pt>
                <c:pt idx="2">
                  <c:v>62.9</c:v>
                </c:pt>
                <c:pt idx="3">
                  <c:v>60.94</c:v>
                </c:pt>
                <c:pt idx="4">
                  <c:v>56.45</c:v>
                </c:pt>
                <c:pt idx="5">
                  <c:v>50.79</c:v>
                </c:pt>
                <c:pt idx="6">
                  <c:v>54.41</c:v>
                </c:pt>
                <c:pt idx="7">
                  <c:v>44.93</c:v>
                </c:pt>
                <c:pt idx="8">
                  <c:v>50.72</c:v>
                </c:pt>
                <c:pt idx="9">
                  <c:v>44.78</c:v>
                </c:pt>
                <c:pt idx="10">
                  <c:v>41.79</c:v>
                </c:pt>
                <c:pt idx="11">
                  <c:v>41.79</c:v>
                </c:pt>
                <c:pt idx="12">
                  <c:v>31.88</c:v>
                </c:pt>
                <c:pt idx="13">
                  <c:v>24.24</c:v>
                </c:pt>
                <c:pt idx="14">
                  <c:v>29.23</c:v>
                </c:pt>
                <c:pt idx="15">
                  <c:v>25.81</c:v>
                </c:pt>
                <c:pt idx="16">
                  <c:v>27.42</c:v>
                </c:pt>
                <c:pt idx="17">
                  <c:v>24.19</c:v>
                </c:pt>
                <c:pt idx="18">
                  <c:v>20</c:v>
                </c:pt>
                <c:pt idx="19">
                  <c:v>18.46</c:v>
                </c:pt>
                <c:pt idx="20">
                  <c:v>20.97</c:v>
                </c:pt>
                <c:pt idx="21">
                  <c:v>17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1E-42C0-B3F7-75D960F773AA}"/>
            </c:ext>
          </c:extLst>
        </c:ser>
        <c:ser>
          <c:idx val="2"/>
          <c:order val="2"/>
          <c:tx>
            <c:strRef>
              <c:f>'[BE Hospital Structure Measures Data.xlsx]Q5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 w="25400">
              <a:noFill/>
            </a:ln>
            <a:effectLst/>
          </c:spPr>
          <c:invertIfNegative val="0"/>
          <c:cat>
            <c:strRef>
              <c:f>'[BE Hospital Structure Measures Data.xlsx]Q5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5'!$B$4:$W$4</c:f>
              <c:numCache>
                <c:formatCode>General</c:formatCode>
                <c:ptCount val="22"/>
                <c:pt idx="0">
                  <c:v>64.52</c:v>
                </c:pt>
                <c:pt idx="1">
                  <c:v>39.39</c:v>
                </c:pt>
                <c:pt idx="2">
                  <c:v>24.19</c:v>
                </c:pt>
                <c:pt idx="3">
                  <c:v>23.44</c:v>
                </c:pt>
                <c:pt idx="4">
                  <c:v>17.739999999999998</c:v>
                </c:pt>
                <c:pt idx="5">
                  <c:v>20.63</c:v>
                </c:pt>
                <c:pt idx="6">
                  <c:v>17.649999999999999</c:v>
                </c:pt>
                <c:pt idx="7">
                  <c:v>17.39</c:v>
                </c:pt>
                <c:pt idx="8">
                  <c:v>10.14</c:v>
                </c:pt>
                <c:pt idx="9">
                  <c:v>4.4800000000000004</c:v>
                </c:pt>
                <c:pt idx="10">
                  <c:v>5.97</c:v>
                </c:pt>
                <c:pt idx="11">
                  <c:v>5.97</c:v>
                </c:pt>
                <c:pt idx="12">
                  <c:v>5.8</c:v>
                </c:pt>
                <c:pt idx="13">
                  <c:v>6.06</c:v>
                </c:pt>
                <c:pt idx="14">
                  <c:v>3.08</c:v>
                </c:pt>
                <c:pt idx="15">
                  <c:v>1.61</c:v>
                </c:pt>
                <c:pt idx="16">
                  <c:v>1.61</c:v>
                </c:pt>
                <c:pt idx="17">
                  <c:v>3.23</c:v>
                </c:pt>
                <c:pt idx="18">
                  <c:v>2.86</c:v>
                </c:pt>
                <c:pt idx="19">
                  <c:v>3.08</c:v>
                </c:pt>
                <c:pt idx="20">
                  <c:v>3.23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31E-42C0-B3F7-75D960F773A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91445512"/>
        <c:axId val="344283288"/>
      </c:barChart>
      <c:catAx>
        <c:axId val="2091445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44283288"/>
        <c:crosses val="autoZero"/>
        <c:auto val="1"/>
        <c:lblAlgn val="ctr"/>
        <c:lblOffset val="100"/>
        <c:noMultiLvlLbl val="0"/>
      </c:catAx>
      <c:valAx>
        <c:axId val="3442832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1445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6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6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6'!$B$2:$W$2</c:f>
              <c:numCache>
                <c:formatCode>General</c:formatCode>
                <c:ptCount val="22"/>
                <c:pt idx="0">
                  <c:v>6.49</c:v>
                </c:pt>
                <c:pt idx="1">
                  <c:v>12.31</c:v>
                </c:pt>
                <c:pt idx="2">
                  <c:v>16.39</c:v>
                </c:pt>
                <c:pt idx="3">
                  <c:v>21.88</c:v>
                </c:pt>
                <c:pt idx="4">
                  <c:v>27.12</c:v>
                </c:pt>
                <c:pt idx="5">
                  <c:v>24.59</c:v>
                </c:pt>
                <c:pt idx="6">
                  <c:v>33.33</c:v>
                </c:pt>
                <c:pt idx="7">
                  <c:v>38.81</c:v>
                </c:pt>
                <c:pt idx="8">
                  <c:v>40.909999999999997</c:v>
                </c:pt>
                <c:pt idx="9">
                  <c:v>50.79</c:v>
                </c:pt>
                <c:pt idx="10">
                  <c:v>53.12</c:v>
                </c:pt>
                <c:pt idx="11">
                  <c:v>57.81</c:v>
                </c:pt>
                <c:pt idx="12">
                  <c:v>57.58</c:v>
                </c:pt>
                <c:pt idx="13">
                  <c:v>61.9</c:v>
                </c:pt>
                <c:pt idx="14">
                  <c:v>51.72</c:v>
                </c:pt>
                <c:pt idx="15">
                  <c:v>63.64</c:v>
                </c:pt>
                <c:pt idx="16">
                  <c:v>65.45</c:v>
                </c:pt>
                <c:pt idx="17">
                  <c:v>59.26</c:v>
                </c:pt>
                <c:pt idx="18">
                  <c:v>68.569999999999993</c:v>
                </c:pt>
                <c:pt idx="19">
                  <c:v>67.69</c:v>
                </c:pt>
                <c:pt idx="20">
                  <c:v>66.13</c:v>
                </c:pt>
                <c:pt idx="21">
                  <c:v>75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EE4-48B7-9F69-24BD56A68000}"/>
            </c:ext>
          </c:extLst>
        </c:ser>
        <c:ser>
          <c:idx val="1"/>
          <c:order val="1"/>
          <c:tx>
            <c:strRef>
              <c:f>'[BE Hospital Structure Measures Data.xlsx]Q6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6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6'!$B$3:$W$3</c:f>
              <c:numCache>
                <c:formatCode>General</c:formatCode>
                <c:ptCount val="22"/>
                <c:pt idx="0">
                  <c:v>27.57</c:v>
                </c:pt>
                <c:pt idx="1">
                  <c:v>47.69</c:v>
                </c:pt>
                <c:pt idx="2">
                  <c:v>45.9</c:v>
                </c:pt>
                <c:pt idx="3">
                  <c:v>45.31</c:v>
                </c:pt>
                <c:pt idx="4">
                  <c:v>50.85</c:v>
                </c:pt>
                <c:pt idx="5">
                  <c:v>47.54</c:v>
                </c:pt>
                <c:pt idx="6">
                  <c:v>43.94</c:v>
                </c:pt>
                <c:pt idx="7">
                  <c:v>44.78</c:v>
                </c:pt>
                <c:pt idx="8">
                  <c:v>45.45</c:v>
                </c:pt>
                <c:pt idx="9">
                  <c:v>44.44</c:v>
                </c:pt>
                <c:pt idx="10">
                  <c:v>42.19</c:v>
                </c:pt>
                <c:pt idx="11">
                  <c:v>35.94</c:v>
                </c:pt>
                <c:pt idx="12">
                  <c:v>37.880000000000003</c:v>
                </c:pt>
                <c:pt idx="13">
                  <c:v>34.92</c:v>
                </c:pt>
                <c:pt idx="14">
                  <c:v>43.1</c:v>
                </c:pt>
                <c:pt idx="15">
                  <c:v>32.729999999999997</c:v>
                </c:pt>
                <c:pt idx="16">
                  <c:v>30.91</c:v>
                </c:pt>
                <c:pt idx="17">
                  <c:v>33.33</c:v>
                </c:pt>
                <c:pt idx="18">
                  <c:v>27.14</c:v>
                </c:pt>
                <c:pt idx="19">
                  <c:v>30.77</c:v>
                </c:pt>
                <c:pt idx="20">
                  <c:v>32.26</c:v>
                </c:pt>
                <c:pt idx="21">
                  <c:v>24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EE4-48B7-9F69-24BD56A68000}"/>
            </c:ext>
          </c:extLst>
        </c:ser>
        <c:ser>
          <c:idx val="2"/>
          <c:order val="2"/>
          <c:tx>
            <c:strRef>
              <c:f>'[BE Hospital Structure Measures Data.xlsx]Q6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6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6'!$B$4:$W$4</c:f>
              <c:numCache>
                <c:formatCode>General</c:formatCode>
                <c:ptCount val="22"/>
                <c:pt idx="0">
                  <c:v>65.94</c:v>
                </c:pt>
                <c:pt idx="1">
                  <c:v>40</c:v>
                </c:pt>
                <c:pt idx="2">
                  <c:v>37.700000000000003</c:v>
                </c:pt>
                <c:pt idx="3">
                  <c:v>32.81</c:v>
                </c:pt>
                <c:pt idx="4">
                  <c:v>22.03</c:v>
                </c:pt>
                <c:pt idx="5">
                  <c:v>27.87</c:v>
                </c:pt>
                <c:pt idx="6">
                  <c:v>22.73</c:v>
                </c:pt>
                <c:pt idx="7">
                  <c:v>16.420000000000002</c:v>
                </c:pt>
                <c:pt idx="8">
                  <c:v>13.64</c:v>
                </c:pt>
                <c:pt idx="9">
                  <c:v>4.76</c:v>
                </c:pt>
                <c:pt idx="10">
                  <c:v>4.6900000000000004</c:v>
                </c:pt>
                <c:pt idx="11">
                  <c:v>6.25</c:v>
                </c:pt>
                <c:pt idx="12">
                  <c:v>4.55</c:v>
                </c:pt>
                <c:pt idx="13">
                  <c:v>3.17</c:v>
                </c:pt>
                <c:pt idx="14">
                  <c:v>5.17</c:v>
                </c:pt>
                <c:pt idx="15">
                  <c:v>3.64</c:v>
                </c:pt>
                <c:pt idx="16">
                  <c:v>3.64</c:v>
                </c:pt>
                <c:pt idx="17">
                  <c:v>7.41</c:v>
                </c:pt>
                <c:pt idx="18">
                  <c:v>4.29</c:v>
                </c:pt>
                <c:pt idx="19">
                  <c:v>1.54</c:v>
                </c:pt>
                <c:pt idx="20">
                  <c:v>1.61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EE4-48B7-9F69-24BD56A680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01053023"/>
        <c:axId val="1701053855"/>
      </c:barChart>
      <c:catAx>
        <c:axId val="17010530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1053855"/>
        <c:crosses val="autoZero"/>
        <c:auto val="1"/>
        <c:lblAlgn val="ctr"/>
        <c:lblOffset val="100"/>
        <c:noMultiLvlLbl val="0"/>
      </c:catAx>
      <c:valAx>
        <c:axId val="17010538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0105302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8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8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8'!$B$2:$W$2</c:f>
              <c:numCache>
                <c:formatCode>General</c:formatCode>
                <c:ptCount val="22"/>
                <c:pt idx="0">
                  <c:v>9.19</c:v>
                </c:pt>
                <c:pt idx="1">
                  <c:v>10.77</c:v>
                </c:pt>
                <c:pt idx="2">
                  <c:v>13.11</c:v>
                </c:pt>
                <c:pt idx="3">
                  <c:v>7.81</c:v>
                </c:pt>
                <c:pt idx="4">
                  <c:v>10.17</c:v>
                </c:pt>
                <c:pt idx="5">
                  <c:v>9.84</c:v>
                </c:pt>
                <c:pt idx="6">
                  <c:v>19.7</c:v>
                </c:pt>
                <c:pt idx="7">
                  <c:v>22.39</c:v>
                </c:pt>
                <c:pt idx="8">
                  <c:v>22.73</c:v>
                </c:pt>
                <c:pt idx="9">
                  <c:v>26.98</c:v>
                </c:pt>
                <c:pt idx="10">
                  <c:v>35.94</c:v>
                </c:pt>
                <c:pt idx="11">
                  <c:v>39.06</c:v>
                </c:pt>
                <c:pt idx="12">
                  <c:v>45.45</c:v>
                </c:pt>
                <c:pt idx="13">
                  <c:v>44.44</c:v>
                </c:pt>
                <c:pt idx="14">
                  <c:v>50</c:v>
                </c:pt>
                <c:pt idx="15">
                  <c:v>61.82</c:v>
                </c:pt>
                <c:pt idx="16">
                  <c:v>58.93</c:v>
                </c:pt>
                <c:pt idx="17">
                  <c:v>56.36</c:v>
                </c:pt>
                <c:pt idx="18">
                  <c:v>61.43</c:v>
                </c:pt>
                <c:pt idx="19">
                  <c:v>67.69</c:v>
                </c:pt>
                <c:pt idx="20">
                  <c:v>70.97</c:v>
                </c:pt>
                <c:pt idx="21">
                  <c:v>68.29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51-431C-B709-78C097E47ED9}"/>
            </c:ext>
          </c:extLst>
        </c:ser>
        <c:ser>
          <c:idx val="1"/>
          <c:order val="1"/>
          <c:tx>
            <c:strRef>
              <c:f>'[BE Hospital Structure Measures Data.xlsx]Q8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8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8'!$B$3:$W$3</c:f>
              <c:numCache>
                <c:formatCode>General</c:formatCode>
                <c:ptCount val="22"/>
                <c:pt idx="0">
                  <c:v>15.12</c:v>
                </c:pt>
                <c:pt idx="1">
                  <c:v>32.31</c:v>
                </c:pt>
                <c:pt idx="2">
                  <c:v>37.700000000000003</c:v>
                </c:pt>
                <c:pt idx="3">
                  <c:v>37.5</c:v>
                </c:pt>
                <c:pt idx="4">
                  <c:v>42.37</c:v>
                </c:pt>
                <c:pt idx="5">
                  <c:v>42.62</c:v>
                </c:pt>
                <c:pt idx="6">
                  <c:v>43.94</c:v>
                </c:pt>
                <c:pt idx="7">
                  <c:v>52.24</c:v>
                </c:pt>
                <c:pt idx="8">
                  <c:v>57.58</c:v>
                </c:pt>
                <c:pt idx="9">
                  <c:v>60.32</c:v>
                </c:pt>
                <c:pt idx="10">
                  <c:v>51.56</c:v>
                </c:pt>
                <c:pt idx="11">
                  <c:v>48.44</c:v>
                </c:pt>
                <c:pt idx="12">
                  <c:v>43.94</c:v>
                </c:pt>
                <c:pt idx="13">
                  <c:v>47.62</c:v>
                </c:pt>
                <c:pt idx="14">
                  <c:v>41.38</c:v>
                </c:pt>
                <c:pt idx="15">
                  <c:v>32.729999999999997</c:v>
                </c:pt>
                <c:pt idx="16">
                  <c:v>33.93</c:v>
                </c:pt>
                <c:pt idx="17">
                  <c:v>34.549999999999997</c:v>
                </c:pt>
                <c:pt idx="18">
                  <c:v>34.29</c:v>
                </c:pt>
                <c:pt idx="19">
                  <c:v>29.23</c:v>
                </c:pt>
                <c:pt idx="20">
                  <c:v>29.03</c:v>
                </c:pt>
                <c:pt idx="21">
                  <c:v>31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251-431C-B709-78C097E47ED9}"/>
            </c:ext>
          </c:extLst>
        </c:ser>
        <c:ser>
          <c:idx val="2"/>
          <c:order val="2"/>
          <c:tx>
            <c:strRef>
              <c:f>'[BE Hospital Structure Measures Data.xlsx]Q8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8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8'!$B$4:$W$4</c:f>
              <c:numCache>
                <c:formatCode>General</c:formatCode>
                <c:ptCount val="22"/>
                <c:pt idx="0">
                  <c:v>75.680000000000007</c:v>
                </c:pt>
                <c:pt idx="1">
                  <c:v>56.92</c:v>
                </c:pt>
                <c:pt idx="2">
                  <c:v>49.18</c:v>
                </c:pt>
                <c:pt idx="3">
                  <c:v>54.69</c:v>
                </c:pt>
                <c:pt idx="4">
                  <c:v>47.46</c:v>
                </c:pt>
                <c:pt idx="5">
                  <c:v>47.54</c:v>
                </c:pt>
                <c:pt idx="6">
                  <c:v>36.36</c:v>
                </c:pt>
                <c:pt idx="7">
                  <c:v>25.37</c:v>
                </c:pt>
                <c:pt idx="8">
                  <c:v>19.7</c:v>
                </c:pt>
                <c:pt idx="9">
                  <c:v>12.7</c:v>
                </c:pt>
                <c:pt idx="10">
                  <c:v>12.5</c:v>
                </c:pt>
                <c:pt idx="11">
                  <c:v>12.5</c:v>
                </c:pt>
                <c:pt idx="12">
                  <c:v>10.61</c:v>
                </c:pt>
                <c:pt idx="13">
                  <c:v>7.94</c:v>
                </c:pt>
                <c:pt idx="14">
                  <c:v>8.6199999999999992</c:v>
                </c:pt>
                <c:pt idx="15">
                  <c:v>5.45</c:v>
                </c:pt>
                <c:pt idx="16">
                  <c:v>7.14</c:v>
                </c:pt>
                <c:pt idx="17">
                  <c:v>9.09</c:v>
                </c:pt>
                <c:pt idx="18">
                  <c:v>4.29</c:v>
                </c:pt>
                <c:pt idx="19">
                  <c:v>3.08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251-431C-B709-78C097E47E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8950303"/>
        <c:axId val="1378951135"/>
      </c:barChart>
      <c:catAx>
        <c:axId val="13789503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8951135"/>
        <c:crosses val="autoZero"/>
        <c:auto val="1"/>
        <c:lblAlgn val="ctr"/>
        <c:lblOffset val="100"/>
        <c:noMultiLvlLbl val="1"/>
      </c:catAx>
      <c:valAx>
        <c:axId val="137895113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7895030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9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9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9'!$B$2:$W$2</c:f>
              <c:numCache>
                <c:formatCode>General</c:formatCode>
                <c:ptCount val="22"/>
                <c:pt idx="0">
                  <c:v>8.65</c:v>
                </c:pt>
                <c:pt idx="1">
                  <c:v>9.23</c:v>
                </c:pt>
                <c:pt idx="2">
                  <c:v>11.48</c:v>
                </c:pt>
                <c:pt idx="3">
                  <c:v>10.94</c:v>
                </c:pt>
                <c:pt idx="4">
                  <c:v>10.17</c:v>
                </c:pt>
                <c:pt idx="5">
                  <c:v>9.84</c:v>
                </c:pt>
                <c:pt idx="6">
                  <c:v>10.61</c:v>
                </c:pt>
                <c:pt idx="7">
                  <c:v>5.97</c:v>
                </c:pt>
                <c:pt idx="8">
                  <c:v>12.12</c:v>
                </c:pt>
                <c:pt idx="9">
                  <c:v>11.11</c:v>
                </c:pt>
                <c:pt idx="10">
                  <c:v>18.75</c:v>
                </c:pt>
                <c:pt idx="11">
                  <c:v>29.69</c:v>
                </c:pt>
                <c:pt idx="12">
                  <c:v>30.3</c:v>
                </c:pt>
                <c:pt idx="13">
                  <c:v>38.1</c:v>
                </c:pt>
                <c:pt idx="14">
                  <c:v>44.83</c:v>
                </c:pt>
                <c:pt idx="15">
                  <c:v>49.09</c:v>
                </c:pt>
                <c:pt idx="16">
                  <c:v>53.57</c:v>
                </c:pt>
                <c:pt idx="17">
                  <c:v>54.55</c:v>
                </c:pt>
                <c:pt idx="18">
                  <c:v>58.57</c:v>
                </c:pt>
                <c:pt idx="19">
                  <c:v>63.08</c:v>
                </c:pt>
                <c:pt idx="20">
                  <c:v>64.52</c:v>
                </c:pt>
                <c:pt idx="21">
                  <c:v>68.29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B5-4B6E-94F3-A50B6E8D3DBC}"/>
            </c:ext>
          </c:extLst>
        </c:ser>
        <c:ser>
          <c:idx val="1"/>
          <c:order val="1"/>
          <c:tx>
            <c:strRef>
              <c:f>'[BE Hospital Structure Measures Data.xlsx]Q9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9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9'!$B$3:$W$3</c:f>
              <c:numCache>
                <c:formatCode>General</c:formatCode>
                <c:ptCount val="22"/>
                <c:pt idx="0">
                  <c:v>10.8</c:v>
                </c:pt>
                <c:pt idx="1">
                  <c:v>15.38</c:v>
                </c:pt>
                <c:pt idx="2">
                  <c:v>19.670000000000002</c:v>
                </c:pt>
                <c:pt idx="3">
                  <c:v>23.44</c:v>
                </c:pt>
                <c:pt idx="4">
                  <c:v>28.81</c:v>
                </c:pt>
                <c:pt idx="5">
                  <c:v>27.87</c:v>
                </c:pt>
                <c:pt idx="6">
                  <c:v>34.85</c:v>
                </c:pt>
                <c:pt idx="7">
                  <c:v>43.28</c:v>
                </c:pt>
                <c:pt idx="8">
                  <c:v>48.48</c:v>
                </c:pt>
                <c:pt idx="9">
                  <c:v>57.14</c:v>
                </c:pt>
                <c:pt idx="10">
                  <c:v>57.81</c:v>
                </c:pt>
                <c:pt idx="11">
                  <c:v>45.31</c:v>
                </c:pt>
                <c:pt idx="12">
                  <c:v>43.94</c:v>
                </c:pt>
                <c:pt idx="13">
                  <c:v>42.86</c:v>
                </c:pt>
                <c:pt idx="14">
                  <c:v>36.21</c:v>
                </c:pt>
                <c:pt idx="15">
                  <c:v>38.18</c:v>
                </c:pt>
                <c:pt idx="16">
                  <c:v>37.5</c:v>
                </c:pt>
                <c:pt idx="17">
                  <c:v>34.549999999999997</c:v>
                </c:pt>
                <c:pt idx="18">
                  <c:v>27.14</c:v>
                </c:pt>
                <c:pt idx="19">
                  <c:v>26.15</c:v>
                </c:pt>
                <c:pt idx="20">
                  <c:v>30.65</c:v>
                </c:pt>
                <c:pt idx="21">
                  <c:v>21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B5-4B6E-94F3-A50B6E8D3DBC}"/>
            </c:ext>
          </c:extLst>
        </c:ser>
        <c:ser>
          <c:idx val="2"/>
          <c:order val="2"/>
          <c:tx>
            <c:strRef>
              <c:f>'[BE Hospital Structure Measures Data.xlsx]Q9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9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9'!$B$4:$W$4</c:f>
              <c:numCache>
                <c:formatCode>General</c:formatCode>
                <c:ptCount val="22"/>
                <c:pt idx="0">
                  <c:v>80.55</c:v>
                </c:pt>
                <c:pt idx="1">
                  <c:v>75.38</c:v>
                </c:pt>
                <c:pt idx="2">
                  <c:v>68.849999999999994</c:v>
                </c:pt>
                <c:pt idx="3">
                  <c:v>65.62</c:v>
                </c:pt>
                <c:pt idx="4">
                  <c:v>61.02</c:v>
                </c:pt>
                <c:pt idx="5">
                  <c:v>62.3</c:v>
                </c:pt>
                <c:pt idx="6">
                  <c:v>54.55</c:v>
                </c:pt>
                <c:pt idx="7">
                  <c:v>50.75</c:v>
                </c:pt>
                <c:pt idx="8">
                  <c:v>39.39</c:v>
                </c:pt>
                <c:pt idx="9">
                  <c:v>31.75</c:v>
                </c:pt>
                <c:pt idx="10">
                  <c:v>23.44</c:v>
                </c:pt>
                <c:pt idx="11">
                  <c:v>25</c:v>
                </c:pt>
                <c:pt idx="12">
                  <c:v>25.76</c:v>
                </c:pt>
                <c:pt idx="13">
                  <c:v>19.05</c:v>
                </c:pt>
                <c:pt idx="14">
                  <c:v>18.97</c:v>
                </c:pt>
                <c:pt idx="15">
                  <c:v>12.73</c:v>
                </c:pt>
                <c:pt idx="16">
                  <c:v>8.93</c:v>
                </c:pt>
                <c:pt idx="17">
                  <c:v>10.91</c:v>
                </c:pt>
                <c:pt idx="18">
                  <c:v>14.29</c:v>
                </c:pt>
                <c:pt idx="19">
                  <c:v>10.77</c:v>
                </c:pt>
                <c:pt idx="20">
                  <c:v>4.84</c:v>
                </c:pt>
                <c:pt idx="21">
                  <c:v>9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8B5-4B6E-94F3-A50B6E8D3D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06035487"/>
        <c:axId val="1406035903"/>
      </c:barChart>
      <c:catAx>
        <c:axId val="14060354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6035903"/>
        <c:crosses val="autoZero"/>
        <c:auto val="1"/>
        <c:lblAlgn val="ctr"/>
        <c:lblOffset val="100"/>
        <c:noMultiLvlLbl val="1"/>
      </c:catAx>
      <c:valAx>
        <c:axId val="14060359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60354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7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7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7'!$B$2:$W$2</c:f>
              <c:numCache>
                <c:formatCode>General</c:formatCode>
                <c:ptCount val="22"/>
                <c:pt idx="0">
                  <c:v>4.32</c:v>
                </c:pt>
                <c:pt idx="1">
                  <c:v>3.08</c:v>
                </c:pt>
                <c:pt idx="2">
                  <c:v>6.56</c:v>
                </c:pt>
                <c:pt idx="3">
                  <c:v>6.25</c:v>
                </c:pt>
                <c:pt idx="4">
                  <c:v>6.78</c:v>
                </c:pt>
                <c:pt idx="5">
                  <c:v>6.56</c:v>
                </c:pt>
                <c:pt idx="6">
                  <c:v>7.58</c:v>
                </c:pt>
                <c:pt idx="7">
                  <c:v>8.9600000000000009</c:v>
                </c:pt>
                <c:pt idx="8">
                  <c:v>13.64</c:v>
                </c:pt>
                <c:pt idx="9">
                  <c:v>14.29</c:v>
                </c:pt>
                <c:pt idx="10">
                  <c:v>14.06</c:v>
                </c:pt>
                <c:pt idx="11">
                  <c:v>18.75</c:v>
                </c:pt>
                <c:pt idx="12">
                  <c:v>21.21</c:v>
                </c:pt>
                <c:pt idx="13">
                  <c:v>19.05</c:v>
                </c:pt>
                <c:pt idx="14">
                  <c:v>20.69</c:v>
                </c:pt>
                <c:pt idx="15">
                  <c:v>23.64</c:v>
                </c:pt>
                <c:pt idx="16">
                  <c:v>23.21</c:v>
                </c:pt>
                <c:pt idx="17">
                  <c:v>25.45</c:v>
                </c:pt>
                <c:pt idx="18">
                  <c:v>28.57</c:v>
                </c:pt>
                <c:pt idx="19">
                  <c:v>29.23</c:v>
                </c:pt>
                <c:pt idx="20">
                  <c:v>29.03</c:v>
                </c:pt>
                <c:pt idx="21">
                  <c:v>34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5D-4C33-BB2C-EF556D74D786}"/>
            </c:ext>
          </c:extLst>
        </c:ser>
        <c:ser>
          <c:idx val="1"/>
          <c:order val="1"/>
          <c:tx>
            <c:strRef>
              <c:f>'[BE Hospital Structure Measures Data.xlsx]Q7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7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7'!$B$3:$W$3</c:f>
              <c:numCache>
                <c:formatCode>General</c:formatCode>
                <c:ptCount val="22"/>
                <c:pt idx="0">
                  <c:v>8.67</c:v>
                </c:pt>
                <c:pt idx="1">
                  <c:v>24.62</c:v>
                </c:pt>
                <c:pt idx="2">
                  <c:v>27.87</c:v>
                </c:pt>
                <c:pt idx="3">
                  <c:v>34.380000000000003</c:v>
                </c:pt>
                <c:pt idx="4">
                  <c:v>33.9</c:v>
                </c:pt>
                <c:pt idx="5">
                  <c:v>37.700000000000003</c:v>
                </c:pt>
                <c:pt idx="6">
                  <c:v>39.39</c:v>
                </c:pt>
                <c:pt idx="7">
                  <c:v>43.28</c:v>
                </c:pt>
                <c:pt idx="8">
                  <c:v>40.909999999999997</c:v>
                </c:pt>
                <c:pt idx="9">
                  <c:v>47.62</c:v>
                </c:pt>
                <c:pt idx="10">
                  <c:v>51.56</c:v>
                </c:pt>
                <c:pt idx="11">
                  <c:v>50</c:v>
                </c:pt>
                <c:pt idx="12">
                  <c:v>45.45</c:v>
                </c:pt>
                <c:pt idx="13">
                  <c:v>53.97</c:v>
                </c:pt>
                <c:pt idx="14">
                  <c:v>58.62</c:v>
                </c:pt>
                <c:pt idx="15">
                  <c:v>47.27</c:v>
                </c:pt>
                <c:pt idx="16">
                  <c:v>51.79</c:v>
                </c:pt>
                <c:pt idx="17">
                  <c:v>49.09</c:v>
                </c:pt>
                <c:pt idx="18">
                  <c:v>44.29</c:v>
                </c:pt>
                <c:pt idx="19">
                  <c:v>52.31</c:v>
                </c:pt>
                <c:pt idx="20">
                  <c:v>51.61</c:v>
                </c:pt>
                <c:pt idx="21">
                  <c:v>53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5D-4C33-BB2C-EF556D74D786}"/>
            </c:ext>
          </c:extLst>
        </c:ser>
        <c:ser>
          <c:idx val="2"/>
          <c:order val="2"/>
          <c:tx>
            <c:strRef>
              <c:f>'[BE Hospital Structure Measures Data.xlsx]Q7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7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7'!$B$4:$W$4</c:f>
              <c:numCache>
                <c:formatCode>General</c:formatCode>
                <c:ptCount val="22"/>
                <c:pt idx="0">
                  <c:v>87.01</c:v>
                </c:pt>
                <c:pt idx="1">
                  <c:v>72.31</c:v>
                </c:pt>
                <c:pt idx="2">
                  <c:v>65.569999999999993</c:v>
                </c:pt>
                <c:pt idx="3">
                  <c:v>59.38</c:v>
                </c:pt>
                <c:pt idx="4">
                  <c:v>59.32</c:v>
                </c:pt>
                <c:pt idx="5">
                  <c:v>55.74</c:v>
                </c:pt>
                <c:pt idx="6">
                  <c:v>53.03</c:v>
                </c:pt>
                <c:pt idx="7">
                  <c:v>47.76</c:v>
                </c:pt>
                <c:pt idx="8">
                  <c:v>45.45</c:v>
                </c:pt>
                <c:pt idx="9">
                  <c:v>38.1</c:v>
                </c:pt>
                <c:pt idx="10">
                  <c:v>34.380000000000003</c:v>
                </c:pt>
                <c:pt idx="11">
                  <c:v>31.25</c:v>
                </c:pt>
                <c:pt idx="12">
                  <c:v>33.33</c:v>
                </c:pt>
                <c:pt idx="13">
                  <c:v>26.98</c:v>
                </c:pt>
                <c:pt idx="14">
                  <c:v>20.69</c:v>
                </c:pt>
                <c:pt idx="15">
                  <c:v>29.09</c:v>
                </c:pt>
                <c:pt idx="16">
                  <c:v>25</c:v>
                </c:pt>
                <c:pt idx="17">
                  <c:v>25.45</c:v>
                </c:pt>
                <c:pt idx="18">
                  <c:v>27.14</c:v>
                </c:pt>
                <c:pt idx="19">
                  <c:v>18.46</c:v>
                </c:pt>
                <c:pt idx="20">
                  <c:v>19.350000000000001</c:v>
                </c:pt>
                <c:pt idx="21">
                  <c:v>1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5D-4C33-BB2C-EF556D74D7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794422111"/>
        <c:axId val="1794410879"/>
      </c:barChart>
      <c:catAx>
        <c:axId val="17944221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4410879"/>
        <c:crosses val="autoZero"/>
        <c:auto val="1"/>
        <c:lblAlgn val="ctr"/>
        <c:lblOffset val="100"/>
        <c:noMultiLvlLbl val="1"/>
      </c:catAx>
      <c:valAx>
        <c:axId val="1794410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944221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[BE Hospital Structure Measures Data.xlsx]Q10'!$A$2</c:f>
              <c:strCache>
                <c:ptCount val="1"/>
                <c:pt idx="0">
                  <c:v>In Place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0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0'!$B$2:$W$2</c:f>
              <c:numCache>
                <c:formatCode>General</c:formatCode>
                <c:ptCount val="22"/>
                <c:pt idx="0">
                  <c:v>53.52</c:v>
                </c:pt>
                <c:pt idx="1">
                  <c:v>67.69</c:v>
                </c:pt>
                <c:pt idx="2">
                  <c:v>63.93</c:v>
                </c:pt>
                <c:pt idx="3">
                  <c:v>68.75</c:v>
                </c:pt>
                <c:pt idx="4">
                  <c:v>72.88</c:v>
                </c:pt>
                <c:pt idx="5">
                  <c:v>72.13</c:v>
                </c:pt>
                <c:pt idx="6">
                  <c:v>80.3</c:v>
                </c:pt>
                <c:pt idx="7">
                  <c:v>77.61</c:v>
                </c:pt>
                <c:pt idx="8">
                  <c:v>77.27</c:v>
                </c:pt>
                <c:pt idx="9">
                  <c:v>79.37</c:v>
                </c:pt>
                <c:pt idx="10">
                  <c:v>82.81</c:v>
                </c:pt>
                <c:pt idx="11">
                  <c:v>84.38</c:v>
                </c:pt>
                <c:pt idx="12">
                  <c:v>84.85</c:v>
                </c:pt>
                <c:pt idx="13">
                  <c:v>88.89</c:v>
                </c:pt>
                <c:pt idx="14">
                  <c:v>84.48</c:v>
                </c:pt>
                <c:pt idx="15">
                  <c:v>86.54</c:v>
                </c:pt>
                <c:pt idx="16">
                  <c:v>89.09</c:v>
                </c:pt>
                <c:pt idx="17">
                  <c:v>92.59</c:v>
                </c:pt>
                <c:pt idx="18">
                  <c:v>88.57</c:v>
                </c:pt>
                <c:pt idx="19">
                  <c:v>89.23</c:v>
                </c:pt>
                <c:pt idx="20">
                  <c:v>91.94</c:v>
                </c:pt>
                <c:pt idx="21">
                  <c:v>92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4B-4000-AD00-02A10C2270B9}"/>
            </c:ext>
          </c:extLst>
        </c:ser>
        <c:ser>
          <c:idx val="1"/>
          <c:order val="1"/>
          <c:tx>
            <c:strRef>
              <c:f>'[BE Hospital Structure Measures Data.xlsx]Q10'!$A$3</c:f>
              <c:strCache>
                <c:ptCount val="1"/>
                <c:pt idx="0">
                  <c:v>Working On It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0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0'!$B$3:$W$3</c:f>
              <c:numCache>
                <c:formatCode>General</c:formatCode>
                <c:ptCount val="22"/>
                <c:pt idx="0">
                  <c:v>15.65</c:v>
                </c:pt>
                <c:pt idx="1">
                  <c:v>12.31</c:v>
                </c:pt>
                <c:pt idx="2">
                  <c:v>13.11</c:v>
                </c:pt>
                <c:pt idx="3">
                  <c:v>18.75</c:v>
                </c:pt>
                <c:pt idx="4">
                  <c:v>16.95</c:v>
                </c:pt>
                <c:pt idx="5">
                  <c:v>19.670000000000002</c:v>
                </c:pt>
                <c:pt idx="6">
                  <c:v>13.64</c:v>
                </c:pt>
                <c:pt idx="7">
                  <c:v>16.420000000000002</c:v>
                </c:pt>
                <c:pt idx="8">
                  <c:v>16.670000000000002</c:v>
                </c:pt>
                <c:pt idx="9">
                  <c:v>19.05</c:v>
                </c:pt>
                <c:pt idx="10">
                  <c:v>17.190000000000001</c:v>
                </c:pt>
                <c:pt idx="11">
                  <c:v>15.62</c:v>
                </c:pt>
                <c:pt idx="12">
                  <c:v>13.64</c:v>
                </c:pt>
                <c:pt idx="13">
                  <c:v>9.52</c:v>
                </c:pt>
                <c:pt idx="14">
                  <c:v>13.79</c:v>
                </c:pt>
                <c:pt idx="15">
                  <c:v>13.46</c:v>
                </c:pt>
                <c:pt idx="16">
                  <c:v>10.91</c:v>
                </c:pt>
                <c:pt idx="17">
                  <c:v>7.41</c:v>
                </c:pt>
                <c:pt idx="18">
                  <c:v>11.43</c:v>
                </c:pt>
                <c:pt idx="19">
                  <c:v>10.77</c:v>
                </c:pt>
                <c:pt idx="20">
                  <c:v>8.06</c:v>
                </c:pt>
                <c:pt idx="21">
                  <c:v>7.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4B-4000-AD00-02A10C2270B9}"/>
            </c:ext>
          </c:extLst>
        </c:ser>
        <c:ser>
          <c:idx val="2"/>
          <c:order val="2"/>
          <c:tx>
            <c:strRef>
              <c:f>'[BE Hospital Structure Measures Data.xlsx]Q10'!$A$4</c:f>
              <c:strCache>
                <c:ptCount val="1"/>
                <c:pt idx="0">
                  <c:v>Have Not Start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'[BE Hospital Structure Measures Data.xlsx]Q10'!$B$1:$W$1</c:f>
              <c:strCache>
                <c:ptCount val="22"/>
                <c:pt idx="0">
                  <c:v>Baseline Q4 2020 </c:v>
                </c:pt>
                <c:pt idx="1">
                  <c:v>Aug-21</c:v>
                </c:pt>
                <c:pt idx="2">
                  <c:v>Sep-21</c:v>
                </c:pt>
                <c:pt idx="3">
                  <c:v>Oct-21</c:v>
                </c:pt>
                <c:pt idx="4">
                  <c:v>Nov-21</c:v>
                </c:pt>
                <c:pt idx="5">
                  <c:v>Dec-21</c:v>
                </c:pt>
                <c:pt idx="6">
                  <c:v>Jan-22</c:v>
                </c:pt>
                <c:pt idx="7">
                  <c:v>Feb-22</c:v>
                </c:pt>
                <c:pt idx="8">
                  <c:v>Mar-22</c:v>
                </c:pt>
                <c:pt idx="9">
                  <c:v>Apr-22</c:v>
                </c:pt>
                <c:pt idx="10">
                  <c:v>May-22</c:v>
                </c:pt>
                <c:pt idx="11">
                  <c:v>Jun-22</c:v>
                </c:pt>
                <c:pt idx="12">
                  <c:v>Jul-22</c:v>
                </c:pt>
                <c:pt idx="13">
                  <c:v>Aug-22</c:v>
                </c:pt>
                <c:pt idx="14">
                  <c:v>Sep-22</c:v>
                </c:pt>
                <c:pt idx="15">
                  <c:v>Oct-22</c:v>
                </c:pt>
                <c:pt idx="16">
                  <c:v>Nov-22</c:v>
                </c:pt>
                <c:pt idx="17">
                  <c:v>Dec-22</c:v>
                </c:pt>
                <c:pt idx="18">
                  <c:v>Jan-23</c:v>
                </c:pt>
                <c:pt idx="19">
                  <c:v>Feb-23</c:v>
                </c:pt>
                <c:pt idx="20">
                  <c:v>Mar-23</c:v>
                </c:pt>
                <c:pt idx="21">
                  <c:v>Apr-23</c:v>
                </c:pt>
              </c:strCache>
            </c:strRef>
          </c:cat>
          <c:val>
            <c:numRef>
              <c:f>'[BE Hospital Structure Measures Data.xlsx]Q10'!$B$4:$W$4</c:f>
              <c:numCache>
                <c:formatCode>General</c:formatCode>
                <c:ptCount val="22"/>
                <c:pt idx="0">
                  <c:v>30.83</c:v>
                </c:pt>
                <c:pt idx="1">
                  <c:v>20</c:v>
                </c:pt>
                <c:pt idx="2">
                  <c:v>22.95</c:v>
                </c:pt>
                <c:pt idx="3">
                  <c:v>12.5</c:v>
                </c:pt>
                <c:pt idx="4">
                  <c:v>10.17</c:v>
                </c:pt>
                <c:pt idx="5">
                  <c:v>8.1999999999999993</c:v>
                </c:pt>
                <c:pt idx="6">
                  <c:v>6.06</c:v>
                </c:pt>
                <c:pt idx="7">
                  <c:v>5.97</c:v>
                </c:pt>
                <c:pt idx="8">
                  <c:v>6.06</c:v>
                </c:pt>
                <c:pt idx="9">
                  <c:v>1.59</c:v>
                </c:pt>
                <c:pt idx="10">
                  <c:v>0</c:v>
                </c:pt>
                <c:pt idx="11">
                  <c:v>0</c:v>
                </c:pt>
                <c:pt idx="12">
                  <c:v>1.52</c:v>
                </c:pt>
                <c:pt idx="13">
                  <c:v>1.59</c:v>
                </c:pt>
                <c:pt idx="14">
                  <c:v>1.72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4B-4000-AD00-02A10C2270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853675359"/>
        <c:axId val="1853676191"/>
      </c:barChart>
      <c:catAx>
        <c:axId val="185367535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3676191"/>
        <c:crosses val="autoZero"/>
        <c:auto val="1"/>
        <c:lblAlgn val="ctr"/>
        <c:lblOffset val="100"/>
        <c:noMultiLvlLbl val="1"/>
      </c:catAx>
      <c:valAx>
        <c:axId val="18536761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367535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38B_EC4243A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33DDF7-634C-4724-A915-063A326FC953}" authorId="{0B48CC40-4357-5959-C41E-8F630855A478}" status="resolved" created="2023-06-02T15:38:05.864" complete="100000">
    <pc:sldMkLst xmlns:pc="http://schemas.microsoft.com/office/powerpoint/2013/main/command">
      <pc:docMk/>
      <pc:sldMk cId="3963765674" sldId="907"/>
    </pc:sldMkLst>
    <p188:replyLst>
      <p188:reply id="{CF4550DF-A55C-49D5-A731-46974B0DD7D6}" authorId="{0B48CC40-4357-5959-C41E-8F630855A478}" created="2023-06-02T15:39:52.445">
        <p188:txBody>
          <a:bodyPr/>
          <a:lstStyle/>
          <a:p>
            <a:r>
              <a:rPr lang="en-US"/>
              <a:t>Should I mention the individual access is still free even though its not confirmed to be available through the end of 2023?</a:t>
            </a:r>
          </a:p>
        </p188:txBody>
      </p188:reply>
      <p188:reply id="{E7234EEF-EE3D-4ED5-8365-5392C62DF984}" authorId="{FCF8223C-610E-2BBA-F33B-0E1F55F6BB33}" created="2023-06-02T18:21:15.503">
        <p188:txBody>
          <a:bodyPr/>
          <a:lstStyle/>
          <a:p>
            <a:r>
              <a:rPr lang="en-US"/>
              <a:t>yes, I think we should provide this information that the individual access will remain free for now in a box under the "all hosptals.. 
Then a third column of boxesshould have a solution. 
so next to all hospitals will lose LSM access, hospitals can work with Diversity Science to purchase a license (or whatever language they use for the training)
and next to the individual access we could say hospitals can continue individual use but with a fee in future. Div Sci anticipates a free refresher course in the future.</a:t>
            </a:r>
          </a:p>
        </p188:txBody>
      </p188:reply>
    </p188:replyLst>
    <p188:txBody>
      <a:bodyPr/>
      <a:lstStyle/>
      <a:p>
        <a:r>
          <a:rPr lang="en-US"/>
          <a:t>[@Patricia Ann Lee King] what other information should I include in this slide? Slide 31 highlights some additional educational resources that teams can utilize</a:t>
        </a:r>
      </a:p>
    </p188:txBody>
  </p188:cm>
</p188:cmLst>
</file>

<file path=ppt/diagrams/_rels/data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_rels/drawing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svg"/><Relationship Id="rId3" Type="http://schemas.openxmlformats.org/officeDocument/2006/relationships/image" Target="../media/image84.png"/><Relationship Id="rId7" Type="http://schemas.openxmlformats.org/officeDocument/2006/relationships/image" Target="../media/image88.png"/><Relationship Id="rId2" Type="http://schemas.openxmlformats.org/officeDocument/2006/relationships/image" Target="../media/image83.svg"/><Relationship Id="rId1" Type="http://schemas.openxmlformats.org/officeDocument/2006/relationships/image" Target="../media/image82.png"/><Relationship Id="rId6" Type="http://schemas.openxmlformats.org/officeDocument/2006/relationships/image" Target="../media/image87.svg"/><Relationship Id="rId5" Type="http://schemas.openxmlformats.org/officeDocument/2006/relationships/image" Target="../media/image86.png"/><Relationship Id="rId4" Type="http://schemas.openxmlformats.org/officeDocument/2006/relationships/image" Target="../media/image85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18/5/colors/Iconchunking_neutralbg_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>
        <a:alpha val="0"/>
      </a:schemeClr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bg1">
        <a:lumMod val="9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75C071-9FFB-4F2C-9FCE-A936E4242794}" type="doc">
      <dgm:prSet loTypeId="urn:microsoft.com/office/officeart/2005/8/layout/vList2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DF41DD32-920B-4184-B591-C0A4A6EF9DA1}">
      <dgm:prSet/>
      <dgm:spPr/>
      <dgm:t>
        <a:bodyPr/>
        <a:lstStyle/>
        <a:p>
          <a:r>
            <a:rPr lang="en-US" b="0" i="0">
              <a:solidFill>
                <a:schemeClr val="accent1"/>
              </a:solidFill>
            </a:rPr>
            <a:t>ILPQC Updates</a:t>
          </a:r>
          <a:endParaRPr lang="en-US">
            <a:solidFill>
              <a:schemeClr val="accent1"/>
            </a:solidFill>
          </a:endParaRPr>
        </a:p>
      </dgm:t>
    </dgm:pt>
    <dgm:pt modelId="{EBB1D2FD-1A69-4723-8835-3DAFAA168D8A}" type="parTrans" cxnId="{4E9B247D-3FA7-46EB-B33A-FC052DE5DC39}">
      <dgm:prSet/>
      <dgm:spPr/>
      <dgm:t>
        <a:bodyPr/>
        <a:lstStyle/>
        <a:p>
          <a:endParaRPr lang="en-US"/>
        </a:p>
      </dgm:t>
    </dgm:pt>
    <dgm:pt modelId="{09BFE863-8CB2-48C3-96AF-536653871E6F}" type="sibTrans" cxnId="{4E9B247D-3FA7-46EB-B33A-FC052DE5DC39}">
      <dgm:prSet/>
      <dgm:spPr/>
      <dgm:t>
        <a:bodyPr/>
        <a:lstStyle/>
        <a:p>
          <a:endParaRPr lang="en-US"/>
        </a:p>
      </dgm:t>
    </dgm:pt>
    <dgm:pt modelId="{00F5860B-A1FD-49F4-9393-66F24897660E}">
      <dgm:prSet/>
      <dgm:spPr/>
      <dgm:t>
        <a:bodyPr/>
        <a:lstStyle/>
        <a:p>
          <a:pPr rtl="0"/>
          <a:r>
            <a:rPr lang="en-US" b="0" i="0">
              <a:solidFill>
                <a:schemeClr val="accent1"/>
              </a:solidFill>
            </a:rPr>
            <a:t>BE Data Review</a:t>
          </a:r>
          <a:r>
            <a:rPr lang="en-US">
              <a:solidFill>
                <a:schemeClr val="accent1"/>
              </a:solidFill>
              <a:latin typeface="Calibri" panose="020F0502020204030204"/>
            </a:rPr>
            <a:t> (Key Strategies &amp; PREM Survey)</a:t>
          </a:r>
          <a:endParaRPr lang="en-US">
            <a:solidFill>
              <a:schemeClr val="accent1"/>
            </a:solidFill>
          </a:endParaRPr>
        </a:p>
      </dgm:t>
    </dgm:pt>
    <dgm:pt modelId="{52FF6C0B-C746-495C-AED5-F5DF6E578DD3}" type="parTrans" cxnId="{E63F510D-C10E-436A-88E6-55510B06BF9A}">
      <dgm:prSet/>
      <dgm:spPr/>
      <dgm:t>
        <a:bodyPr/>
        <a:lstStyle/>
        <a:p>
          <a:endParaRPr lang="en-US"/>
        </a:p>
      </dgm:t>
    </dgm:pt>
    <dgm:pt modelId="{13B0408E-13EC-4039-A4CF-655EB3DB1BC0}" type="sibTrans" cxnId="{E63F510D-C10E-436A-88E6-55510B06BF9A}">
      <dgm:prSet/>
      <dgm:spPr/>
      <dgm:t>
        <a:bodyPr/>
        <a:lstStyle/>
        <a:p>
          <a:endParaRPr lang="en-US"/>
        </a:p>
      </dgm:t>
    </dgm:pt>
    <dgm:pt modelId="{AB9738FE-418D-4CF0-BA32-20270F78456E}">
      <dgm:prSet/>
      <dgm:spPr/>
      <dgm:t>
        <a:bodyPr/>
        <a:lstStyle/>
        <a:p>
          <a:pPr rtl="0"/>
          <a:r>
            <a:rPr lang="en-US" b="0" i="0">
              <a:solidFill>
                <a:schemeClr val="accent1"/>
              </a:solidFill>
              <a:latin typeface="Calibri" panose="020F0502020204030204"/>
            </a:rPr>
            <a:t>QI Summer Series</a:t>
          </a:r>
          <a:r>
            <a:rPr lang="en-US">
              <a:solidFill>
                <a:schemeClr val="accent1"/>
              </a:solidFill>
              <a:latin typeface="Calibri" panose="020F0502020204030204"/>
            </a:rPr>
            <a:t> Introduction</a:t>
          </a:r>
          <a:endParaRPr lang="en-US">
            <a:solidFill>
              <a:schemeClr val="accent1"/>
            </a:solidFill>
          </a:endParaRPr>
        </a:p>
      </dgm:t>
    </dgm:pt>
    <dgm:pt modelId="{C7D91647-8C3D-4760-A0B9-23F9C4B4877A}" type="parTrans" cxnId="{E5AB2E39-B1D9-4BAF-8FC3-A127ECF13845}">
      <dgm:prSet/>
      <dgm:spPr/>
      <dgm:t>
        <a:bodyPr/>
        <a:lstStyle/>
        <a:p>
          <a:endParaRPr lang="en-US"/>
        </a:p>
      </dgm:t>
    </dgm:pt>
    <dgm:pt modelId="{554AB8D3-E718-4208-A68F-F396426A4F8C}" type="sibTrans" cxnId="{E5AB2E39-B1D9-4BAF-8FC3-A127ECF13845}">
      <dgm:prSet/>
      <dgm:spPr/>
      <dgm:t>
        <a:bodyPr/>
        <a:lstStyle/>
        <a:p>
          <a:endParaRPr lang="en-US"/>
        </a:p>
      </dgm:t>
    </dgm:pt>
    <dgm:pt modelId="{CDA5F1B9-C112-45BF-A1CA-C7EE39A378A8}">
      <dgm:prSet phldr="0"/>
      <dgm:spPr/>
      <dgm:t>
        <a:bodyPr/>
        <a:lstStyle/>
        <a:p>
          <a:pPr rtl="0"/>
          <a:r>
            <a:rPr lang="en-US" b="0" i="0">
              <a:solidFill>
                <a:schemeClr val="accent1"/>
              </a:solidFill>
              <a:latin typeface="Calibri" panose="020F0502020204030204"/>
            </a:rPr>
            <a:t>Key Takeaways from F2F</a:t>
          </a:r>
        </a:p>
      </dgm:t>
    </dgm:pt>
    <dgm:pt modelId="{9B1E5ADA-A9B6-41FB-BE81-7697DFDA45C5}" type="parTrans" cxnId="{4A75C16F-3DA6-4F0E-A771-9C2D59B6E8E5}">
      <dgm:prSet/>
      <dgm:spPr/>
    </dgm:pt>
    <dgm:pt modelId="{EF3DA309-A114-4D4D-B6D0-5837EBB30238}" type="sibTrans" cxnId="{4A75C16F-3DA6-4F0E-A771-9C2D59B6E8E5}">
      <dgm:prSet/>
      <dgm:spPr/>
    </dgm:pt>
    <dgm:pt modelId="{3C5426B8-457E-41E0-8BF5-11390F2466B7}">
      <dgm:prSet phldr="0"/>
      <dgm:spPr/>
      <dgm:t>
        <a:bodyPr/>
        <a:lstStyle/>
        <a:p>
          <a:pPr rtl="0"/>
          <a:r>
            <a:rPr lang="en-US">
              <a:solidFill>
                <a:schemeClr val="accent1"/>
              </a:solidFill>
              <a:latin typeface="Calibri" panose="020F0502020204030204"/>
            </a:rPr>
            <a:t>Getting to Green on Key Strategies</a:t>
          </a:r>
          <a:endParaRPr lang="en-US">
            <a:solidFill>
              <a:schemeClr val="accent1"/>
            </a:solidFill>
          </a:endParaRPr>
        </a:p>
      </dgm:t>
    </dgm:pt>
    <dgm:pt modelId="{0EB4280D-9D6B-4B14-8DFA-7876FA613CD2}" type="parTrans" cxnId="{1C586BC5-F341-4277-AD3A-C25A75C5E229}">
      <dgm:prSet/>
      <dgm:spPr/>
    </dgm:pt>
    <dgm:pt modelId="{C25F99E5-00E1-4643-A76A-1B40E7D4FC49}" type="sibTrans" cxnId="{1C586BC5-F341-4277-AD3A-C25A75C5E229}">
      <dgm:prSet/>
      <dgm:spPr/>
    </dgm:pt>
    <dgm:pt modelId="{DBADD167-DFC0-4979-959B-4F2354FA15D5}">
      <dgm:prSet phldr="0"/>
      <dgm:spPr/>
      <dgm:t>
        <a:bodyPr/>
        <a:lstStyle/>
        <a:p>
          <a:pPr rtl="0"/>
          <a:r>
            <a:rPr lang="en-US" b="0" i="0">
              <a:solidFill>
                <a:schemeClr val="accent1"/>
              </a:solidFill>
            </a:rPr>
            <a:t>Respectful Care Breakfast Strategy</a:t>
          </a:r>
          <a:r>
            <a:rPr lang="en-US" b="0" i="0">
              <a:solidFill>
                <a:schemeClr val="accent1"/>
              </a:solidFill>
              <a:latin typeface="Calibri" panose="020F0502020204030204"/>
            </a:rPr>
            <a:t> – Team Update</a:t>
          </a:r>
        </a:p>
      </dgm:t>
    </dgm:pt>
    <dgm:pt modelId="{8EF798DA-E405-4206-836C-7A680C617328}" type="parTrans" cxnId="{179D227B-A16B-4876-8EDC-FCE750D459E5}">
      <dgm:prSet/>
      <dgm:spPr/>
    </dgm:pt>
    <dgm:pt modelId="{639DEB60-8201-47D3-8197-67E13D696AE8}" type="sibTrans" cxnId="{179D227B-A16B-4876-8EDC-FCE750D459E5}">
      <dgm:prSet/>
      <dgm:spPr/>
    </dgm:pt>
    <dgm:pt modelId="{C3405426-3A51-4B3B-A74E-99A76A7E2299}" type="pres">
      <dgm:prSet presAssocID="{A675C071-9FFB-4F2C-9FCE-A936E4242794}" presName="linear" presStyleCnt="0">
        <dgm:presLayoutVars>
          <dgm:animLvl val="lvl"/>
          <dgm:resizeHandles val="exact"/>
        </dgm:presLayoutVars>
      </dgm:prSet>
      <dgm:spPr/>
    </dgm:pt>
    <dgm:pt modelId="{DD043B88-532F-455D-A1DD-A6D4D6CD727C}" type="pres">
      <dgm:prSet presAssocID="{DF41DD32-920B-4184-B591-C0A4A6EF9DA1}" presName="parentText" presStyleLbl="node1" presStyleIdx="0" presStyleCnt="6">
        <dgm:presLayoutVars>
          <dgm:chMax val="0"/>
          <dgm:bulletEnabled val="1"/>
        </dgm:presLayoutVars>
      </dgm:prSet>
      <dgm:spPr/>
    </dgm:pt>
    <dgm:pt modelId="{F4039C09-C82D-4451-BB1C-DC80E56F3393}" type="pres">
      <dgm:prSet presAssocID="{09BFE863-8CB2-48C3-96AF-536653871E6F}" presName="spacer" presStyleCnt="0"/>
      <dgm:spPr/>
    </dgm:pt>
    <dgm:pt modelId="{CF8A7B59-2420-48FA-A336-38390FC91955}" type="pres">
      <dgm:prSet presAssocID="{00F5860B-A1FD-49F4-9393-66F24897660E}" presName="parentText" presStyleLbl="node1" presStyleIdx="1" presStyleCnt="6">
        <dgm:presLayoutVars>
          <dgm:chMax val="0"/>
          <dgm:bulletEnabled val="1"/>
        </dgm:presLayoutVars>
      </dgm:prSet>
      <dgm:spPr/>
    </dgm:pt>
    <dgm:pt modelId="{1DA1AB40-3061-4E01-AC86-F7A19F1CCAF2}" type="pres">
      <dgm:prSet presAssocID="{13B0408E-13EC-4039-A4CF-655EB3DB1BC0}" presName="spacer" presStyleCnt="0"/>
      <dgm:spPr/>
    </dgm:pt>
    <dgm:pt modelId="{33396235-34F9-4080-8888-28FC6E0B7033}" type="pres">
      <dgm:prSet presAssocID="{CDA5F1B9-C112-45BF-A1CA-C7EE39A378A8}" presName="parentText" presStyleLbl="node1" presStyleIdx="2" presStyleCnt="6">
        <dgm:presLayoutVars>
          <dgm:chMax val="0"/>
          <dgm:bulletEnabled val="1"/>
        </dgm:presLayoutVars>
      </dgm:prSet>
      <dgm:spPr/>
    </dgm:pt>
    <dgm:pt modelId="{796DA7AC-B6E1-49C7-B115-1DB8A3C953AF}" type="pres">
      <dgm:prSet presAssocID="{EF3DA309-A114-4D4D-B6D0-5837EBB30238}" presName="spacer" presStyleCnt="0"/>
      <dgm:spPr/>
    </dgm:pt>
    <dgm:pt modelId="{54911B0A-133C-4EB5-B7A4-C901FDAFF025}" type="pres">
      <dgm:prSet presAssocID="{3C5426B8-457E-41E0-8BF5-11390F2466B7}" presName="parentText" presStyleLbl="node1" presStyleIdx="3" presStyleCnt="6">
        <dgm:presLayoutVars>
          <dgm:chMax val="0"/>
          <dgm:bulletEnabled val="1"/>
        </dgm:presLayoutVars>
      </dgm:prSet>
      <dgm:spPr/>
    </dgm:pt>
    <dgm:pt modelId="{838E3C79-528F-46FF-A261-B372C41C5021}" type="pres">
      <dgm:prSet presAssocID="{C25F99E5-00E1-4643-A76A-1B40E7D4FC49}" presName="spacer" presStyleCnt="0"/>
      <dgm:spPr/>
    </dgm:pt>
    <dgm:pt modelId="{C57065FD-1E1E-49C9-89EE-498333CE3675}" type="pres">
      <dgm:prSet presAssocID="{DBADD167-DFC0-4979-959B-4F2354FA15D5}" presName="parentText" presStyleLbl="node1" presStyleIdx="4" presStyleCnt="6">
        <dgm:presLayoutVars>
          <dgm:chMax val="0"/>
          <dgm:bulletEnabled val="1"/>
        </dgm:presLayoutVars>
      </dgm:prSet>
      <dgm:spPr/>
    </dgm:pt>
    <dgm:pt modelId="{EFC7EA11-1A5E-49BF-AF08-8C5E1A56BA84}" type="pres">
      <dgm:prSet presAssocID="{639DEB60-8201-47D3-8197-67E13D696AE8}" presName="spacer" presStyleCnt="0"/>
      <dgm:spPr/>
    </dgm:pt>
    <dgm:pt modelId="{1643AD65-70DC-4CDF-BC64-E36EFE81F523}" type="pres">
      <dgm:prSet presAssocID="{AB9738FE-418D-4CF0-BA32-20270F78456E}" presName="parentText" presStyleLbl="node1" presStyleIdx="5" presStyleCnt="6">
        <dgm:presLayoutVars>
          <dgm:chMax val="0"/>
          <dgm:bulletEnabled val="1"/>
        </dgm:presLayoutVars>
      </dgm:prSet>
      <dgm:spPr/>
    </dgm:pt>
  </dgm:ptLst>
  <dgm:cxnLst>
    <dgm:cxn modelId="{E63F510D-C10E-436A-88E6-55510B06BF9A}" srcId="{A675C071-9FFB-4F2C-9FCE-A936E4242794}" destId="{00F5860B-A1FD-49F4-9393-66F24897660E}" srcOrd="1" destOrd="0" parTransId="{52FF6C0B-C746-495C-AED5-F5DF6E578DD3}" sibTransId="{13B0408E-13EC-4039-A4CF-655EB3DB1BC0}"/>
    <dgm:cxn modelId="{E5AB2E39-B1D9-4BAF-8FC3-A127ECF13845}" srcId="{A675C071-9FFB-4F2C-9FCE-A936E4242794}" destId="{AB9738FE-418D-4CF0-BA32-20270F78456E}" srcOrd="5" destOrd="0" parTransId="{C7D91647-8C3D-4760-A0B9-23F9C4B4877A}" sibTransId="{554AB8D3-E718-4208-A68F-F396426A4F8C}"/>
    <dgm:cxn modelId="{4F03315D-5707-4D41-9AC7-DE0552C3F43D}" type="presOf" srcId="{A675C071-9FFB-4F2C-9FCE-A936E4242794}" destId="{C3405426-3A51-4B3B-A74E-99A76A7E2299}" srcOrd="0" destOrd="0" presId="urn:microsoft.com/office/officeart/2005/8/layout/vList2"/>
    <dgm:cxn modelId="{ED8FD846-299C-4653-9F2A-6570FBF58504}" type="presOf" srcId="{DBADD167-DFC0-4979-959B-4F2354FA15D5}" destId="{C57065FD-1E1E-49C9-89EE-498333CE3675}" srcOrd="0" destOrd="0" presId="urn:microsoft.com/office/officeart/2005/8/layout/vList2"/>
    <dgm:cxn modelId="{1CAC5C6D-60B0-4937-A5F0-6CE046EAD18F}" type="presOf" srcId="{00F5860B-A1FD-49F4-9393-66F24897660E}" destId="{CF8A7B59-2420-48FA-A336-38390FC91955}" srcOrd="0" destOrd="0" presId="urn:microsoft.com/office/officeart/2005/8/layout/vList2"/>
    <dgm:cxn modelId="{4A75C16F-3DA6-4F0E-A771-9C2D59B6E8E5}" srcId="{A675C071-9FFB-4F2C-9FCE-A936E4242794}" destId="{CDA5F1B9-C112-45BF-A1CA-C7EE39A378A8}" srcOrd="2" destOrd="0" parTransId="{9B1E5ADA-A9B6-41FB-BE81-7697DFDA45C5}" sibTransId="{EF3DA309-A114-4D4D-B6D0-5837EBB30238}"/>
    <dgm:cxn modelId="{179D227B-A16B-4876-8EDC-FCE750D459E5}" srcId="{A675C071-9FFB-4F2C-9FCE-A936E4242794}" destId="{DBADD167-DFC0-4979-959B-4F2354FA15D5}" srcOrd="4" destOrd="0" parTransId="{8EF798DA-E405-4206-836C-7A680C617328}" sibTransId="{639DEB60-8201-47D3-8197-67E13D696AE8}"/>
    <dgm:cxn modelId="{4E9B247D-3FA7-46EB-B33A-FC052DE5DC39}" srcId="{A675C071-9FFB-4F2C-9FCE-A936E4242794}" destId="{DF41DD32-920B-4184-B591-C0A4A6EF9DA1}" srcOrd="0" destOrd="0" parTransId="{EBB1D2FD-1A69-4723-8835-3DAFAA168D8A}" sibTransId="{09BFE863-8CB2-48C3-96AF-536653871E6F}"/>
    <dgm:cxn modelId="{5C89F583-8952-42E1-91A9-2CC437132FB0}" type="presOf" srcId="{3C5426B8-457E-41E0-8BF5-11390F2466B7}" destId="{54911B0A-133C-4EB5-B7A4-C901FDAFF025}" srcOrd="0" destOrd="0" presId="urn:microsoft.com/office/officeart/2005/8/layout/vList2"/>
    <dgm:cxn modelId="{87B69999-C3A8-44A8-B323-A98B04A7D95A}" type="presOf" srcId="{AB9738FE-418D-4CF0-BA32-20270F78456E}" destId="{1643AD65-70DC-4CDF-BC64-E36EFE81F523}" srcOrd="0" destOrd="0" presId="urn:microsoft.com/office/officeart/2005/8/layout/vList2"/>
    <dgm:cxn modelId="{388145B6-B49A-4BF4-BE0D-25161301B62B}" type="presOf" srcId="{CDA5F1B9-C112-45BF-A1CA-C7EE39A378A8}" destId="{33396235-34F9-4080-8888-28FC6E0B7033}" srcOrd="0" destOrd="0" presId="urn:microsoft.com/office/officeart/2005/8/layout/vList2"/>
    <dgm:cxn modelId="{1C586BC5-F341-4277-AD3A-C25A75C5E229}" srcId="{A675C071-9FFB-4F2C-9FCE-A936E4242794}" destId="{3C5426B8-457E-41E0-8BF5-11390F2466B7}" srcOrd="3" destOrd="0" parTransId="{0EB4280D-9D6B-4B14-8DFA-7876FA613CD2}" sibTransId="{C25F99E5-00E1-4643-A76A-1B40E7D4FC49}"/>
    <dgm:cxn modelId="{61B715E6-FBAD-437C-BDFE-39A52FFCD760}" type="presOf" srcId="{DF41DD32-920B-4184-B591-C0A4A6EF9DA1}" destId="{DD043B88-532F-455D-A1DD-A6D4D6CD727C}" srcOrd="0" destOrd="0" presId="urn:microsoft.com/office/officeart/2005/8/layout/vList2"/>
    <dgm:cxn modelId="{B0F0FF06-F7FA-4E8C-87A2-58B146331E5A}" type="presParOf" srcId="{C3405426-3A51-4B3B-A74E-99A76A7E2299}" destId="{DD043B88-532F-455D-A1DD-A6D4D6CD727C}" srcOrd="0" destOrd="0" presId="urn:microsoft.com/office/officeart/2005/8/layout/vList2"/>
    <dgm:cxn modelId="{ED07A7B4-8C26-49AC-9B66-5AE317284306}" type="presParOf" srcId="{C3405426-3A51-4B3B-A74E-99A76A7E2299}" destId="{F4039C09-C82D-4451-BB1C-DC80E56F3393}" srcOrd="1" destOrd="0" presId="urn:microsoft.com/office/officeart/2005/8/layout/vList2"/>
    <dgm:cxn modelId="{2AC6DA8D-CE92-4FF5-ABB1-A42595FC25F8}" type="presParOf" srcId="{C3405426-3A51-4B3B-A74E-99A76A7E2299}" destId="{CF8A7B59-2420-48FA-A336-38390FC91955}" srcOrd="2" destOrd="0" presId="urn:microsoft.com/office/officeart/2005/8/layout/vList2"/>
    <dgm:cxn modelId="{2559992F-8CB1-427F-828D-1CB7E8CFC4AE}" type="presParOf" srcId="{C3405426-3A51-4B3B-A74E-99A76A7E2299}" destId="{1DA1AB40-3061-4E01-AC86-F7A19F1CCAF2}" srcOrd="3" destOrd="0" presId="urn:microsoft.com/office/officeart/2005/8/layout/vList2"/>
    <dgm:cxn modelId="{FA65D87B-8594-45C4-BEB9-BC75C7DD7BFB}" type="presParOf" srcId="{C3405426-3A51-4B3B-A74E-99A76A7E2299}" destId="{33396235-34F9-4080-8888-28FC6E0B7033}" srcOrd="4" destOrd="0" presId="urn:microsoft.com/office/officeart/2005/8/layout/vList2"/>
    <dgm:cxn modelId="{77A3F59A-FB2B-42A9-ABFB-57B0B1199FB5}" type="presParOf" srcId="{C3405426-3A51-4B3B-A74E-99A76A7E2299}" destId="{796DA7AC-B6E1-49C7-B115-1DB8A3C953AF}" srcOrd="5" destOrd="0" presId="urn:microsoft.com/office/officeart/2005/8/layout/vList2"/>
    <dgm:cxn modelId="{3A345C6E-C040-43FA-9E3E-2A552F80F8DC}" type="presParOf" srcId="{C3405426-3A51-4B3B-A74E-99A76A7E2299}" destId="{54911B0A-133C-4EB5-B7A4-C901FDAFF025}" srcOrd="6" destOrd="0" presId="urn:microsoft.com/office/officeart/2005/8/layout/vList2"/>
    <dgm:cxn modelId="{703AEE66-505C-418F-92C5-90BF5C3CCFE1}" type="presParOf" srcId="{C3405426-3A51-4B3B-A74E-99A76A7E2299}" destId="{838E3C79-528F-46FF-A261-B372C41C5021}" srcOrd="7" destOrd="0" presId="urn:microsoft.com/office/officeart/2005/8/layout/vList2"/>
    <dgm:cxn modelId="{AC46C098-3C24-47A0-BD23-B406D358D3AA}" type="presParOf" srcId="{C3405426-3A51-4B3B-A74E-99A76A7E2299}" destId="{C57065FD-1E1E-49C9-89EE-498333CE3675}" srcOrd="8" destOrd="0" presId="urn:microsoft.com/office/officeart/2005/8/layout/vList2"/>
    <dgm:cxn modelId="{E927081F-115C-4D4D-8052-0028B77FA54C}" type="presParOf" srcId="{C3405426-3A51-4B3B-A74E-99A76A7E2299}" destId="{EFC7EA11-1A5E-49BF-AF08-8C5E1A56BA84}" srcOrd="9" destOrd="0" presId="urn:microsoft.com/office/officeart/2005/8/layout/vList2"/>
    <dgm:cxn modelId="{C5A0839E-C5F6-4EF4-9D00-BBEEB21D296B}" type="presParOf" srcId="{C3405426-3A51-4B3B-A74E-99A76A7E2299}" destId="{1643AD65-70DC-4CDF-BC64-E36EFE81F523}" srcOrd="1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36DDA7-6B04-4373-B183-CA9500FD8582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bg_colorful1" csCatId="colorful" phldr="1"/>
      <dgm:spPr/>
      <dgm:t>
        <a:bodyPr/>
        <a:lstStyle/>
        <a:p>
          <a:endParaRPr lang="en-US"/>
        </a:p>
      </dgm:t>
    </dgm:pt>
    <dgm:pt modelId="{51529A58-F1B3-4E0F-8C63-63FB0CBD9D0C}">
      <dgm:prSet/>
      <dgm:spPr/>
      <dgm:t>
        <a:bodyPr/>
        <a:lstStyle/>
        <a:p>
          <a:r>
            <a:rPr lang="en-US" b="0" i="0"/>
            <a:t>BE: Social Determinants of Health Screening and Linkage to Resources</a:t>
          </a:r>
          <a:endParaRPr lang="en-US"/>
        </a:p>
      </dgm:t>
    </dgm:pt>
    <dgm:pt modelId="{DD3BC1E8-5DB3-4DC1-88D7-611C364DA020}" type="parTrans" cxnId="{65505C05-EED9-480B-8ED4-B9E50DD4353F}">
      <dgm:prSet/>
      <dgm:spPr/>
      <dgm:t>
        <a:bodyPr/>
        <a:lstStyle/>
        <a:p>
          <a:endParaRPr lang="en-US"/>
        </a:p>
      </dgm:t>
    </dgm:pt>
    <dgm:pt modelId="{EAE3EA04-C2F0-4B58-9D56-C88434DEA9A1}" type="sibTrans" cxnId="{65505C05-EED9-480B-8ED4-B9E50DD4353F}">
      <dgm:prSet/>
      <dgm:spPr/>
      <dgm:t>
        <a:bodyPr/>
        <a:lstStyle/>
        <a:p>
          <a:endParaRPr lang="en-US"/>
        </a:p>
      </dgm:t>
    </dgm:pt>
    <dgm:pt modelId="{32B5629F-0379-4DEB-A07A-AE9085CD4131}">
      <dgm:prSet/>
      <dgm:spPr/>
      <dgm:t>
        <a:bodyPr/>
        <a:lstStyle/>
        <a:p>
          <a:r>
            <a:rPr lang="en-US" b="0" i="0"/>
            <a:t>BE: Active Implementation of Respectful Care Practices and PREM Survey</a:t>
          </a:r>
          <a:endParaRPr lang="en-US"/>
        </a:p>
      </dgm:t>
    </dgm:pt>
    <dgm:pt modelId="{D55838CD-C2EF-4198-BC1A-82CE7914F5F7}" type="parTrans" cxnId="{A227DC24-05D8-45E2-AA70-9A559C24DF72}">
      <dgm:prSet/>
      <dgm:spPr/>
      <dgm:t>
        <a:bodyPr/>
        <a:lstStyle/>
        <a:p>
          <a:endParaRPr lang="en-US"/>
        </a:p>
      </dgm:t>
    </dgm:pt>
    <dgm:pt modelId="{45F5AF70-A7FF-4DFA-9023-C7F48A42A9D2}" type="sibTrans" cxnId="{A227DC24-05D8-45E2-AA70-9A559C24DF72}">
      <dgm:prSet/>
      <dgm:spPr/>
      <dgm:t>
        <a:bodyPr/>
        <a:lstStyle/>
        <a:p>
          <a:endParaRPr lang="en-US"/>
        </a:p>
      </dgm:t>
    </dgm:pt>
    <dgm:pt modelId="{F801421F-3487-41BC-BB58-6198E3D15674}">
      <dgm:prSet/>
      <dgm:spPr/>
      <dgm:t>
        <a:bodyPr/>
        <a:lstStyle/>
        <a:p>
          <a:r>
            <a:rPr lang="en-US" b="0" i="0"/>
            <a:t>BE: Moving Patient and Community Engagement Forward at your Hospital</a:t>
          </a:r>
          <a:endParaRPr lang="en-US"/>
        </a:p>
      </dgm:t>
    </dgm:pt>
    <dgm:pt modelId="{06BD4D68-1364-48EE-B443-C52BC0A9A08F}" type="parTrans" cxnId="{037F27C3-FFEA-4B8F-B426-F8A78791711D}">
      <dgm:prSet/>
      <dgm:spPr/>
      <dgm:t>
        <a:bodyPr/>
        <a:lstStyle/>
        <a:p>
          <a:endParaRPr lang="en-US"/>
        </a:p>
      </dgm:t>
    </dgm:pt>
    <dgm:pt modelId="{384030B1-A508-45BC-B1BA-48EA1752CFBE}" type="sibTrans" cxnId="{037F27C3-FFEA-4B8F-B426-F8A78791711D}">
      <dgm:prSet/>
      <dgm:spPr/>
      <dgm:t>
        <a:bodyPr/>
        <a:lstStyle/>
        <a:p>
          <a:endParaRPr lang="en-US"/>
        </a:p>
      </dgm:t>
    </dgm:pt>
    <dgm:pt modelId="{57C8189A-A88E-4371-9534-F49EE62765C3}">
      <dgm:prSet/>
      <dgm:spPr/>
      <dgm:t>
        <a:bodyPr/>
        <a:lstStyle/>
        <a:p>
          <a:r>
            <a:rPr lang="en-US" b="0" i="0"/>
            <a:t>BE/PVB: Stratify your NTSV Data and Actively Address Disparities</a:t>
          </a:r>
          <a:endParaRPr lang="en-US"/>
        </a:p>
      </dgm:t>
    </dgm:pt>
    <dgm:pt modelId="{4462B5C1-057C-44D8-B3E2-6BE8FB2B64F6}" type="parTrans" cxnId="{9DF7BB39-92A2-4366-AC43-725A4378B6DA}">
      <dgm:prSet/>
      <dgm:spPr/>
      <dgm:t>
        <a:bodyPr/>
        <a:lstStyle/>
        <a:p>
          <a:endParaRPr lang="en-US"/>
        </a:p>
      </dgm:t>
    </dgm:pt>
    <dgm:pt modelId="{C7614E8E-8D2F-4183-BAF3-3646BFA1B5FD}" type="sibTrans" cxnId="{9DF7BB39-92A2-4366-AC43-725A4378B6DA}">
      <dgm:prSet/>
      <dgm:spPr/>
      <dgm:t>
        <a:bodyPr/>
        <a:lstStyle/>
        <a:p>
          <a:endParaRPr lang="en-US"/>
        </a:p>
      </dgm:t>
    </dgm:pt>
    <dgm:pt modelId="{240A905C-BFB3-4FFA-B51F-758A9921CC4D}" type="pres">
      <dgm:prSet presAssocID="{1736DDA7-6B04-4373-B183-CA9500FD8582}" presName="root" presStyleCnt="0">
        <dgm:presLayoutVars>
          <dgm:dir/>
          <dgm:resizeHandles val="exact"/>
        </dgm:presLayoutVars>
      </dgm:prSet>
      <dgm:spPr/>
    </dgm:pt>
    <dgm:pt modelId="{84B10274-47CF-4998-9DFA-A346F72845EC}" type="pres">
      <dgm:prSet presAssocID="{51529A58-F1B3-4E0F-8C63-63FB0CBD9D0C}" presName="compNode" presStyleCnt="0"/>
      <dgm:spPr/>
    </dgm:pt>
    <dgm:pt modelId="{B920FE7E-4B5C-4F40-9201-4A83AFA7CC07}" type="pres">
      <dgm:prSet presAssocID="{51529A58-F1B3-4E0F-8C63-63FB0CBD9D0C}" presName="bgRect" presStyleLbl="bgShp" presStyleIdx="0" presStyleCnt="4"/>
      <dgm:spPr/>
    </dgm:pt>
    <dgm:pt modelId="{33DF703C-A982-4C1A-91E0-20D12D16B246}" type="pres">
      <dgm:prSet presAssocID="{51529A58-F1B3-4E0F-8C63-63FB0CBD9D0C}" presName="iconRect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Group"/>
        </a:ext>
      </dgm:extLst>
    </dgm:pt>
    <dgm:pt modelId="{2DF209C9-CD01-4782-BFDC-6E3ACC56E0F4}" type="pres">
      <dgm:prSet presAssocID="{51529A58-F1B3-4E0F-8C63-63FB0CBD9D0C}" presName="spaceRect" presStyleCnt="0"/>
      <dgm:spPr/>
    </dgm:pt>
    <dgm:pt modelId="{C0A37A64-54F8-4EE7-91BA-99E23F29094E}" type="pres">
      <dgm:prSet presAssocID="{51529A58-F1B3-4E0F-8C63-63FB0CBD9D0C}" presName="parTx" presStyleLbl="revTx" presStyleIdx="0" presStyleCnt="4">
        <dgm:presLayoutVars>
          <dgm:chMax val="0"/>
          <dgm:chPref val="0"/>
        </dgm:presLayoutVars>
      </dgm:prSet>
      <dgm:spPr/>
    </dgm:pt>
    <dgm:pt modelId="{90050B9F-E254-42A4-A2B8-43311350F494}" type="pres">
      <dgm:prSet presAssocID="{EAE3EA04-C2F0-4B58-9D56-C88434DEA9A1}" presName="sibTrans" presStyleCnt="0"/>
      <dgm:spPr/>
    </dgm:pt>
    <dgm:pt modelId="{02E66E95-4770-424A-A68C-41CED14768DC}" type="pres">
      <dgm:prSet presAssocID="{32B5629F-0379-4DEB-A07A-AE9085CD4131}" presName="compNode" presStyleCnt="0"/>
      <dgm:spPr/>
    </dgm:pt>
    <dgm:pt modelId="{DB681757-793F-42C8-BFE5-0661C895CA44}" type="pres">
      <dgm:prSet presAssocID="{32B5629F-0379-4DEB-A07A-AE9085CD4131}" presName="bgRect" presStyleLbl="bgShp" presStyleIdx="1" presStyleCnt="4"/>
      <dgm:spPr/>
    </dgm:pt>
    <dgm:pt modelId="{D2CC8F26-0D91-4FD4-8828-C1487174FDF0}" type="pres">
      <dgm:prSet presAssocID="{32B5629F-0379-4DEB-A07A-AE9085CD4131}" presName="iconRect" presStyleLbl="node1" presStyleIdx="1" presStyleCnt="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8A8C5CB5-E1B6-48E7-A3A4-19A7A36D7080}" type="pres">
      <dgm:prSet presAssocID="{32B5629F-0379-4DEB-A07A-AE9085CD4131}" presName="spaceRect" presStyleCnt="0"/>
      <dgm:spPr/>
    </dgm:pt>
    <dgm:pt modelId="{605BD215-AD4A-43BA-9DD7-CAA61EBEA764}" type="pres">
      <dgm:prSet presAssocID="{32B5629F-0379-4DEB-A07A-AE9085CD4131}" presName="parTx" presStyleLbl="revTx" presStyleIdx="1" presStyleCnt="4">
        <dgm:presLayoutVars>
          <dgm:chMax val="0"/>
          <dgm:chPref val="0"/>
        </dgm:presLayoutVars>
      </dgm:prSet>
      <dgm:spPr/>
    </dgm:pt>
    <dgm:pt modelId="{223BF4CB-A06D-40A4-8F7F-B2C9858EEE0C}" type="pres">
      <dgm:prSet presAssocID="{45F5AF70-A7FF-4DFA-9023-C7F48A42A9D2}" presName="sibTrans" presStyleCnt="0"/>
      <dgm:spPr/>
    </dgm:pt>
    <dgm:pt modelId="{045D75F0-209C-470A-B173-E61057540B12}" type="pres">
      <dgm:prSet presAssocID="{F801421F-3487-41BC-BB58-6198E3D15674}" presName="compNode" presStyleCnt="0"/>
      <dgm:spPr/>
    </dgm:pt>
    <dgm:pt modelId="{9B089B0C-0CCB-4ABD-87D0-BB86CFD23BD4}" type="pres">
      <dgm:prSet presAssocID="{F801421F-3487-41BC-BB58-6198E3D15674}" presName="bgRect" presStyleLbl="bgShp" presStyleIdx="2" presStyleCnt="4"/>
      <dgm:spPr/>
    </dgm:pt>
    <dgm:pt modelId="{78B13561-1A5A-4248-AE36-DCF37F0249E7}" type="pres">
      <dgm:prSet presAssocID="{F801421F-3487-41BC-BB58-6198E3D15674}" presName="iconRect" presStyleLbl="node1" presStyleIdx="2" presStyleCnt="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hoscope"/>
        </a:ext>
      </dgm:extLst>
    </dgm:pt>
    <dgm:pt modelId="{A1EB6407-20C8-4286-BE88-E0C3457E9F02}" type="pres">
      <dgm:prSet presAssocID="{F801421F-3487-41BC-BB58-6198E3D15674}" presName="spaceRect" presStyleCnt="0"/>
      <dgm:spPr/>
    </dgm:pt>
    <dgm:pt modelId="{6EBE522C-2D02-458A-AF99-54ABBD3B63A0}" type="pres">
      <dgm:prSet presAssocID="{F801421F-3487-41BC-BB58-6198E3D15674}" presName="parTx" presStyleLbl="revTx" presStyleIdx="2" presStyleCnt="4">
        <dgm:presLayoutVars>
          <dgm:chMax val="0"/>
          <dgm:chPref val="0"/>
        </dgm:presLayoutVars>
      </dgm:prSet>
      <dgm:spPr/>
    </dgm:pt>
    <dgm:pt modelId="{BD8FE358-F83F-4A84-A0C2-F8AA9DA5B1B0}" type="pres">
      <dgm:prSet presAssocID="{384030B1-A508-45BC-B1BA-48EA1752CFBE}" presName="sibTrans" presStyleCnt="0"/>
      <dgm:spPr/>
    </dgm:pt>
    <dgm:pt modelId="{8B5A5ABE-9807-4CA1-903E-790DA042C4F7}" type="pres">
      <dgm:prSet presAssocID="{57C8189A-A88E-4371-9534-F49EE62765C3}" presName="compNode" presStyleCnt="0"/>
      <dgm:spPr/>
    </dgm:pt>
    <dgm:pt modelId="{012F5EB5-6F47-4EB1-8446-CE48750F8B9B}" type="pres">
      <dgm:prSet presAssocID="{57C8189A-A88E-4371-9534-F49EE62765C3}" presName="bgRect" presStyleLbl="bgShp" presStyleIdx="3" presStyleCnt="4"/>
      <dgm:spPr/>
    </dgm:pt>
    <dgm:pt modelId="{E7965DA4-1368-41DE-B9E6-5FF22B7F46E8}" type="pres">
      <dgm:prSet presAssocID="{57C8189A-A88E-4371-9534-F49EE62765C3}" presName="iconRect" presStyleLbl="node1" presStyleIdx="3" presStyleCnt="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atistics"/>
        </a:ext>
      </dgm:extLst>
    </dgm:pt>
    <dgm:pt modelId="{1D5EB018-8754-44D4-A7B4-FBFE9C83C9EF}" type="pres">
      <dgm:prSet presAssocID="{57C8189A-A88E-4371-9534-F49EE62765C3}" presName="spaceRect" presStyleCnt="0"/>
      <dgm:spPr/>
    </dgm:pt>
    <dgm:pt modelId="{C87E4EE9-920C-4DC1-817C-FA90747AE190}" type="pres">
      <dgm:prSet presAssocID="{57C8189A-A88E-4371-9534-F49EE62765C3}" presName="parTx" presStyleLbl="revTx" presStyleIdx="3" presStyleCnt="4">
        <dgm:presLayoutVars>
          <dgm:chMax val="0"/>
          <dgm:chPref val="0"/>
        </dgm:presLayoutVars>
      </dgm:prSet>
      <dgm:spPr/>
    </dgm:pt>
  </dgm:ptLst>
  <dgm:cxnLst>
    <dgm:cxn modelId="{65505C05-EED9-480B-8ED4-B9E50DD4353F}" srcId="{1736DDA7-6B04-4373-B183-CA9500FD8582}" destId="{51529A58-F1B3-4E0F-8C63-63FB0CBD9D0C}" srcOrd="0" destOrd="0" parTransId="{DD3BC1E8-5DB3-4DC1-88D7-611C364DA020}" sibTransId="{EAE3EA04-C2F0-4B58-9D56-C88434DEA9A1}"/>
    <dgm:cxn modelId="{968F2419-E218-4517-8E71-851A5BA87F5C}" type="presOf" srcId="{32B5629F-0379-4DEB-A07A-AE9085CD4131}" destId="{605BD215-AD4A-43BA-9DD7-CAA61EBEA764}" srcOrd="0" destOrd="0" presId="urn:microsoft.com/office/officeart/2018/2/layout/IconVerticalSolidList"/>
    <dgm:cxn modelId="{A227DC24-05D8-45E2-AA70-9A559C24DF72}" srcId="{1736DDA7-6B04-4373-B183-CA9500FD8582}" destId="{32B5629F-0379-4DEB-A07A-AE9085CD4131}" srcOrd="1" destOrd="0" parTransId="{D55838CD-C2EF-4198-BC1A-82CE7914F5F7}" sibTransId="{45F5AF70-A7FF-4DFA-9023-C7F48A42A9D2}"/>
    <dgm:cxn modelId="{9DF7BB39-92A2-4366-AC43-725A4378B6DA}" srcId="{1736DDA7-6B04-4373-B183-CA9500FD8582}" destId="{57C8189A-A88E-4371-9534-F49EE62765C3}" srcOrd="3" destOrd="0" parTransId="{4462B5C1-057C-44D8-B3E2-6BE8FB2B64F6}" sibTransId="{C7614E8E-8D2F-4183-BAF3-3646BFA1B5FD}"/>
    <dgm:cxn modelId="{E9BE1847-7610-4598-9C14-5E690971025A}" type="presOf" srcId="{F801421F-3487-41BC-BB58-6198E3D15674}" destId="{6EBE522C-2D02-458A-AF99-54ABBD3B63A0}" srcOrd="0" destOrd="0" presId="urn:microsoft.com/office/officeart/2018/2/layout/IconVerticalSolidList"/>
    <dgm:cxn modelId="{CA2998AC-C002-4E3F-BAAA-891D3E16EE58}" type="presOf" srcId="{57C8189A-A88E-4371-9534-F49EE62765C3}" destId="{C87E4EE9-920C-4DC1-817C-FA90747AE190}" srcOrd="0" destOrd="0" presId="urn:microsoft.com/office/officeart/2018/2/layout/IconVerticalSolidList"/>
    <dgm:cxn modelId="{86959AB6-43F8-4ECB-A724-9808A1A78A5A}" type="presOf" srcId="{1736DDA7-6B04-4373-B183-CA9500FD8582}" destId="{240A905C-BFB3-4FFA-B51F-758A9921CC4D}" srcOrd="0" destOrd="0" presId="urn:microsoft.com/office/officeart/2018/2/layout/IconVerticalSolidList"/>
    <dgm:cxn modelId="{037F27C3-FFEA-4B8F-B426-F8A78791711D}" srcId="{1736DDA7-6B04-4373-B183-CA9500FD8582}" destId="{F801421F-3487-41BC-BB58-6198E3D15674}" srcOrd="2" destOrd="0" parTransId="{06BD4D68-1364-48EE-B443-C52BC0A9A08F}" sibTransId="{384030B1-A508-45BC-B1BA-48EA1752CFBE}"/>
    <dgm:cxn modelId="{9B8700D2-55CD-4D03-B44F-470FA12BE644}" type="presOf" srcId="{51529A58-F1B3-4E0F-8C63-63FB0CBD9D0C}" destId="{C0A37A64-54F8-4EE7-91BA-99E23F29094E}" srcOrd="0" destOrd="0" presId="urn:microsoft.com/office/officeart/2018/2/layout/IconVerticalSolidList"/>
    <dgm:cxn modelId="{3C6E8936-898A-480A-8C4C-F57CDCE8D449}" type="presParOf" srcId="{240A905C-BFB3-4FFA-B51F-758A9921CC4D}" destId="{84B10274-47CF-4998-9DFA-A346F72845EC}" srcOrd="0" destOrd="0" presId="urn:microsoft.com/office/officeart/2018/2/layout/IconVerticalSolidList"/>
    <dgm:cxn modelId="{ABD58D30-6E9C-4EFC-BD86-AC3CDB572F0C}" type="presParOf" srcId="{84B10274-47CF-4998-9DFA-A346F72845EC}" destId="{B920FE7E-4B5C-4F40-9201-4A83AFA7CC07}" srcOrd="0" destOrd="0" presId="urn:microsoft.com/office/officeart/2018/2/layout/IconVerticalSolidList"/>
    <dgm:cxn modelId="{1D087A38-0C79-4C3E-B86C-FBF8562AE37E}" type="presParOf" srcId="{84B10274-47CF-4998-9DFA-A346F72845EC}" destId="{33DF703C-A982-4C1A-91E0-20D12D16B246}" srcOrd="1" destOrd="0" presId="urn:microsoft.com/office/officeart/2018/2/layout/IconVerticalSolidList"/>
    <dgm:cxn modelId="{3FC6449E-A17F-49DD-8436-7730A093B299}" type="presParOf" srcId="{84B10274-47CF-4998-9DFA-A346F72845EC}" destId="{2DF209C9-CD01-4782-BFDC-6E3ACC56E0F4}" srcOrd="2" destOrd="0" presId="urn:microsoft.com/office/officeart/2018/2/layout/IconVerticalSolidList"/>
    <dgm:cxn modelId="{3BE159CB-EBF6-4D60-9BA3-E6B63E51A6F5}" type="presParOf" srcId="{84B10274-47CF-4998-9DFA-A346F72845EC}" destId="{C0A37A64-54F8-4EE7-91BA-99E23F29094E}" srcOrd="3" destOrd="0" presId="urn:microsoft.com/office/officeart/2018/2/layout/IconVerticalSolidList"/>
    <dgm:cxn modelId="{38FA0B1F-FD29-4E65-BC5E-4CD8EA6B0668}" type="presParOf" srcId="{240A905C-BFB3-4FFA-B51F-758A9921CC4D}" destId="{90050B9F-E254-42A4-A2B8-43311350F494}" srcOrd="1" destOrd="0" presId="urn:microsoft.com/office/officeart/2018/2/layout/IconVerticalSolidList"/>
    <dgm:cxn modelId="{36944F30-5C00-4F3D-8941-34E9285A4BB3}" type="presParOf" srcId="{240A905C-BFB3-4FFA-B51F-758A9921CC4D}" destId="{02E66E95-4770-424A-A68C-41CED14768DC}" srcOrd="2" destOrd="0" presId="urn:microsoft.com/office/officeart/2018/2/layout/IconVerticalSolidList"/>
    <dgm:cxn modelId="{F88C0E6F-3279-4E6E-8FDD-1EE194BD5A4D}" type="presParOf" srcId="{02E66E95-4770-424A-A68C-41CED14768DC}" destId="{DB681757-793F-42C8-BFE5-0661C895CA44}" srcOrd="0" destOrd="0" presId="urn:microsoft.com/office/officeart/2018/2/layout/IconVerticalSolidList"/>
    <dgm:cxn modelId="{06CF7430-09D1-4740-B8FF-34DF9FF391B0}" type="presParOf" srcId="{02E66E95-4770-424A-A68C-41CED14768DC}" destId="{D2CC8F26-0D91-4FD4-8828-C1487174FDF0}" srcOrd="1" destOrd="0" presId="urn:microsoft.com/office/officeart/2018/2/layout/IconVerticalSolidList"/>
    <dgm:cxn modelId="{7D3FDE89-6F90-407C-A007-668D036DD1D1}" type="presParOf" srcId="{02E66E95-4770-424A-A68C-41CED14768DC}" destId="{8A8C5CB5-E1B6-48E7-A3A4-19A7A36D7080}" srcOrd="2" destOrd="0" presId="urn:microsoft.com/office/officeart/2018/2/layout/IconVerticalSolidList"/>
    <dgm:cxn modelId="{735372A3-A98D-4F4E-A59D-0DE5DC114625}" type="presParOf" srcId="{02E66E95-4770-424A-A68C-41CED14768DC}" destId="{605BD215-AD4A-43BA-9DD7-CAA61EBEA764}" srcOrd="3" destOrd="0" presId="urn:microsoft.com/office/officeart/2018/2/layout/IconVerticalSolidList"/>
    <dgm:cxn modelId="{2C9F9D6F-516B-46E3-83EC-ECE6B7E142C5}" type="presParOf" srcId="{240A905C-BFB3-4FFA-B51F-758A9921CC4D}" destId="{223BF4CB-A06D-40A4-8F7F-B2C9858EEE0C}" srcOrd="3" destOrd="0" presId="urn:microsoft.com/office/officeart/2018/2/layout/IconVerticalSolidList"/>
    <dgm:cxn modelId="{C9980DF7-0174-4D2B-A51D-A1483D62FCB7}" type="presParOf" srcId="{240A905C-BFB3-4FFA-B51F-758A9921CC4D}" destId="{045D75F0-209C-470A-B173-E61057540B12}" srcOrd="4" destOrd="0" presId="urn:microsoft.com/office/officeart/2018/2/layout/IconVerticalSolidList"/>
    <dgm:cxn modelId="{79DB738A-3486-4DB4-A229-6367B03CF3E4}" type="presParOf" srcId="{045D75F0-209C-470A-B173-E61057540B12}" destId="{9B089B0C-0CCB-4ABD-87D0-BB86CFD23BD4}" srcOrd="0" destOrd="0" presId="urn:microsoft.com/office/officeart/2018/2/layout/IconVerticalSolidList"/>
    <dgm:cxn modelId="{E9ECBC5B-0DCF-497F-9E9E-F9A5A896523F}" type="presParOf" srcId="{045D75F0-209C-470A-B173-E61057540B12}" destId="{78B13561-1A5A-4248-AE36-DCF37F0249E7}" srcOrd="1" destOrd="0" presId="urn:microsoft.com/office/officeart/2018/2/layout/IconVerticalSolidList"/>
    <dgm:cxn modelId="{90024DE9-A53B-4E95-9711-C1A2370C7749}" type="presParOf" srcId="{045D75F0-209C-470A-B173-E61057540B12}" destId="{A1EB6407-20C8-4286-BE88-E0C3457E9F02}" srcOrd="2" destOrd="0" presId="urn:microsoft.com/office/officeart/2018/2/layout/IconVerticalSolidList"/>
    <dgm:cxn modelId="{944D67BA-5E97-481A-B97F-CA34FF715AB7}" type="presParOf" srcId="{045D75F0-209C-470A-B173-E61057540B12}" destId="{6EBE522C-2D02-458A-AF99-54ABBD3B63A0}" srcOrd="3" destOrd="0" presId="urn:microsoft.com/office/officeart/2018/2/layout/IconVerticalSolidList"/>
    <dgm:cxn modelId="{26A9B719-C78B-4949-9B7F-A8DEB30E0C8D}" type="presParOf" srcId="{240A905C-BFB3-4FFA-B51F-758A9921CC4D}" destId="{BD8FE358-F83F-4A84-A0C2-F8AA9DA5B1B0}" srcOrd="5" destOrd="0" presId="urn:microsoft.com/office/officeart/2018/2/layout/IconVerticalSolidList"/>
    <dgm:cxn modelId="{F2AB5294-8BCF-48F4-9852-53C68C93951F}" type="presParOf" srcId="{240A905C-BFB3-4FFA-B51F-758A9921CC4D}" destId="{8B5A5ABE-9807-4CA1-903E-790DA042C4F7}" srcOrd="6" destOrd="0" presId="urn:microsoft.com/office/officeart/2018/2/layout/IconVerticalSolidList"/>
    <dgm:cxn modelId="{48F384AF-22C6-43D0-83AD-BB46E1E2FCEC}" type="presParOf" srcId="{8B5A5ABE-9807-4CA1-903E-790DA042C4F7}" destId="{012F5EB5-6F47-4EB1-8446-CE48750F8B9B}" srcOrd="0" destOrd="0" presId="urn:microsoft.com/office/officeart/2018/2/layout/IconVerticalSolidList"/>
    <dgm:cxn modelId="{1AE4B0AB-832B-4EB1-B4A3-1C89AA1407C5}" type="presParOf" srcId="{8B5A5ABE-9807-4CA1-903E-790DA042C4F7}" destId="{E7965DA4-1368-41DE-B9E6-5FF22B7F46E8}" srcOrd="1" destOrd="0" presId="urn:microsoft.com/office/officeart/2018/2/layout/IconVerticalSolidList"/>
    <dgm:cxn modelId="{EA687F8C-FC9E-4D3C-BBB6-E87D3D7B3658}" type="presParOf" srcId="{8B5A5ABE-9807-4CA1-903E-790DA042C4F7}" destId="{1D5EB018-8754-44D4-A7B4-FBFE9C83C9EF}" srcOrd="2" destOrd="0" presId="urn:microsoft.com/office/officeart/2018/2/layout/IconVerticalSolidList"/>
    <dgm:cxn modelId="{0F49AC0C-1165-4944-91A3-87240B22AE73}" type="presParOf" srcId="{8B5A5ABE-9807-4CA1-903E-790DA042C4F7}" destId="{C87E4EE9-920C-4DC1-817C-FA90747AE190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BE055E2-7D87-46D6-BED6-27EEF4252992}" type="doc">
      <dgm:prSet loTypeId="urn:microsoft.com/office/officeart/2005/8/layout/hierarchy1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A31326D3-77CF-44E5-8C7F-362D779F2E91}">
      <dgm:prSet/>
      <dgm:spPr/>
      <dgm:t>
        <a:bodyPr/>
        <a:lstStyle/>
        <a:p>
          <a:pPr rtl="0"/>
          <a:r>
            <a:rPr lang="en-US" b="1" dirty="0"/>
            <a:t>ILPQC's 2-year contract with Diversity Science will end on July 15th, </a:t>
          </a:r>
          <a:r>
            <a:rPr lang="en-US" b="1" dirty="0">
              <a:latin typeface="Calibri" panose="020F0502020204030204"/>
            </a:rPr>
            <a:t>2023 - </a:t>
          </a:r>
          <a:r>
            <a:rPr lang="en-US" dirty="0">
              <a:latin typeface="Calibri" panose="020F0502020204030204"/>
            </a:rPr>
            <a:t>Diversity Science has converted to a fee-based product for out of state users</a:t>
          </a:r>
          <a:endParaRPr lang="en-US" dirty="0"/>
        </a:p>
      </dgm:t>
    </dgm:pt>
    <dgm:pt modelId="{2CF8C74C-51BD-48B2-8174-C795AA5726D8}" type="parTrans" cxnId="{3A7ABA84-1438-42A6-8C62-58A69621FEA7}">
      <dgm:prSet/>
      <dgm:spPr/>
      <dgm:t>
        <a:bodyPr/>
        <a:lstStyle/>
        <a:p>
          <a:endParaRPr lang="en-US"/>
        </a:p>
      </dgm:t>
    </dgm:pt>
    <dgm:pt modelId="{BA364831-6CEA-494D-9CFC-F514D4065C85}" type="sibTrans" cxnId="{3A7ABA84-1438-42A6-8C62-58A69621FEA7}">
      <dgm:prSet/>
      <dgm:spPr/>
      <dgm:t>
        <a:bodyPr/>
        <a:lstStyle/>
        <a:p>
          <a:endParaRPr lang="en-US"/>
        </a:p>
      </dgm:t>
    </dgm:pt>
    <dgm:pt modelId="{480B8545-7414-4A73-97A7-27475352D362}">
      <dgm:prSet/>
      <dgm:spPr/>
      <dgm:t>
        <a:bodyPr/>
        <a:lstStyle/>
        <a:p>
          <a:r>
            <a:rPr lang="en-US" dirty="0"/>
            <a:t>All hospitals who have integrated the Dignity in Pregnancy and Childbirth Course into their hospital LMS will lose access on July 15th</a:t>
          </a:r>
        </a:p>
      </dgm:t>
    </dgm:pt>
    <dgm:pt modelId="{2B1FC6AB-EF1B-4F78-AA31-678DC6314007}" type="parTrans" cxnId="{2BA5E397-CD01-4CAF-9F41-2FFA047A8932}">
      <dgm:prSet/>
      <dgm:spPr/>
      <dgm:t>
        <a:bodyPr/>
        <a:lstStyle/>
        <a:p>
          <a:endParaRPr lang="en-US"/>
        </a:p>
      </dgm:t>
    </dgm:pt>
    <dgm:pt modelId="{8AEDCA67-61BA-4792-AC89-E7F38AE702D0}" type="sibTrans" cxnId="{2BA5E397-CD01-4CAF-9F41-2FFA047A8932}">
      <dgm:prSet/>
      <dgm:spPr/>
      <dgm:t>
        <a:bodyPr/>
        <a:lstStyle/>
        <a:p>
          <a:endParaRPr lang="en-US"/>
        </a:p>
      </dgm:t>
    </dgm:pt>
    <dgm:pt modelId="{D046101C-F65B-4704-8A94-A4E1A479CD5C}">
      <dgm:prSet phldr="0"/>
      <dgm:spPr/>
      <dgm:t>
        <a:bodyPr/>
        <a:lstStyle/>
        <a:p>
          <a:pPr rtl="0"/>
          <a:r>
            <a:rPr lang="en-US" dirty="0"/>
            <a:t>Hospitals can work with Diversity Science to purchase a license to extend LMS access</a:t>
          </a:r>
          <a:r>
            <a:rPr lang="en-US" dirty="0">
              <a:latin typeface="Calibri" panose="020F0502020204030204"/>
            </a:rPr>
            <a:t> to the course</a:t>
          </a:r>
        </a:p>
      </dgm:t>
    </dgm:pt>
    <dgm:pt modelId="{D251177A-FD8C-403D-ABBF-F09301C5E829}" type="parTrans" cxnId="{DCC03797-6441-48A6-91C4-341C2851DB85}">
      <dgm:prSet/>
      <dgm:spPr/>
    </dgm:pt>
    <dgm:pt modelId="{208BA133-4C1E-489B-A01B-17C1A92CADFD}" type="sibTrans" cxnId="{DCC03797-6441-48A6-91C4-341C2851DB85}">
      <dgm:prSet/>
      <dgm:spPr/>
    </dgm:pt>
    <dgm:pt modelId="{9E25A5CB-7B80-4208-B2BD-231D04EEEEF7}">
      <dgm:prSet phldr="0"/>
      <dgm:spPr/>
      <dgm:t>
        <a:bodyPr/>
        <a:lstStyle/>
        <a:p>
          <a:r>
            <a:rPr lang="en-US" dirty="0">
              <a:latin typeface="Arial"/>
              <a:cs typeface="Arial"/>
            </a:rPr>
            <a:t>Diversity Science anticipates a free refresher course in the future</a:t>
          </a:r>
          <a:endParaRPr lang="en-US" dirty="0"/>
        </a:p>
      </dgm:t>
    </dgm:pt>
    <dgm:pt modelId="{E1EDC640-A736-4973-BDFF-FE9834ABF006}" type="parTrans" cxnId="{C70DCDA0-90CF-40A4-A6D2-4598F465888E}">
      <dgm:prSet/>
      <dgm:spPr/>
    </dgm:pt>
    <dgm:pt modelId="{B575C61E-A27C-4C23-A35B-B264E9D8E079}" type="sibTrans" cxnId="{C70DCDA0-90CF-40A4-A6D2-4598F465888E}">
      <dgm:prSet/>
      <dgm:spPr/>
    </dgm:pt>
    <dgm:pt modelId="{7D9D6A5D-BEDD-48ED-BC27-AA5E338546AB}">
      <dgm:prSet phldr="0"/>
      <dgm:spPr/>
      <dgm:t>
        <a:bodyPr/>
        <a:lstStyle/>
        <a:p>
          <a:pPr rtl="0"/>
          <a:r>
            <a:rPr lang="en-US" dirty="0">
              <a:latin typeface="Arial"/>
              <a:cs typeface="Arial"/>
            </a:rPr>
            <a:t>Individual access will remain free for now (fee in the future)</a:t>
          </a:r>
        </a:p>
      </dgm:t>
    </dgm:pt>
    <dgm:pt modelId="{E62C175C-A578-4EA1-BB87-33FCD5972A9D}" type="parTrans" cxnId="{50FF3957-0A5A-4446-AB7F-78736E66E9BB}">
      <dgm:prSet/>
      <dgm:spPr/>
    </dgm:pt>
    <dgm:pt modelId="{D30825FC-53FF-4DA0-8489-FC84521C339B}" type="sibTrans" cxnId="{50FF3957-0A5A-4446-AB7F-78736E66E9BB}">
      <dgm:prSet/>
      <dgm:spPr/>
    </dgm:pt>
    <dgm:pt modelId="{C1A7C8B2-CC12-4B60-A338-7E42013FBEF7}" type="pres">
      <dgm:prSet presAssocID="{7BE055E2-7D87-46D6-BED6-27EEF4252992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EE58C24E-78DB-47FA-954F-F04B784699DB}" type="pres">
      <dgm:prSet presAssocID="{A31326D3-77CF-44E5-8C7F-362D779F2E91}" presName="hierRoot1" presStyleCnt="0"/>
      <dgm:spPr/>
    </dgm:pt>
    <dgm:pt modelId="{BB8514B0-1662-4F69-9245-5D5F0BBCD5A0}" type="pres">
      <dgm:prSet presAssocID="{A31326D3-77CF-44E5-8C7F-362D779F2E91}" presName="composite" presStyleCnt="0"/>
      <dgm:spPr/>
    </dgm:pt>
    <dgm:pt modelId="{08EC83BB-3E96-4F4F-900E-AB4F1F4551CF}" type="pres">
      <dgm:prSet presAssocID="{A31326D3-77CF-44E5-8C7F-362D779F2E91}" presName="background" presStyleLbl="node0" presStyleIdx="0" presStyleCnt="3"/>
      <dgm:spPr/>
    </dgm:pt>
    <dgm:pt modelId="{64C9B54D-CDD1-4D45-B8A5-D79DD9EDFF3C}" type="pres">
      <dgm:prSet presAssocID="{A31326D3-77CF-44E5-8C7F-362D779F2E91}" presName="text" presStyleLbl="fgAcc0" presStyleIdx="0" presStyleCnt="3">
        <dgm:presLayoutVars>
          <dgm:chPref val="3"/>
        </dgm:presLayoutVars>
      </dgm:prSet>
      <dgm:spPr/>
    </dgm:pt>
    <dgm:pt modelId="{61BE9FC2-2134-4E94-8766-922C5A012D2D}" type="pres">
      <dgm:prSet presAssocID="{A31326D3-77CF-44E5-8C7F-362D779F2E91}" presName="hierChild2" presStyleCnt="0"/>
      <dgm:spPr/>
    </dgm:pt>
    <dgm:pt modelId="{6050C138-883C-4F22-8099-84BBBED1D270}" type="pres">
      <dgm:prSet presAssocID="{480B8545-7414-4A73-97A7-27475352D362}" presName="hierRoot1" presStyleCnt="0"/>
      <dgm:spPr/>
    </dgm:pt>
    <dgm:pt modelId="{A5E3BB78-9A57-4B0D-8737-C66DEAC920FC}" type="pres">
      <dgm:prSet presAssocID="{480B8545-7414-4A73-97A7-27475352D362}" presName="composite" presStyleCnt="0"/>
      <dgm:spPr/>
    </dgm:pt>
    <dgm:pt modelId="{264803B5-5E60-4D81-8A3C-1A74B7DCD62F}" type="pres">
      <dgm:prSet presAssocID="{480B8545-7414-4A73-97A7-27475352D362}" presName="background" presStyleLbl="node0" presStyleIdx="1" presStyleCnt="3"/>
      <dgm:spPr/>
    </dgm:pt>
    <dgm:pt modelId="{160E629A-211C-412A-ADB4-74612C7B78BC}" type="pres">
      <dgm:prSet presAssocID="{480B8545-7414-4A73-97A7-27475352D362}" presName="text" presStyleLbl="fgAcc0" presStyleIdx="1" presStyleCnt="3">
        <dgm:presLayoutVars>
          <dgm:chPref val="3"/>
        </dgm:presLayoutVars>
      </dgm:prSet>
      <dgm:spPr/>
    </dgm:pt>
    <dgm:pt modelId="{A8655EA0-25AA-4F63-ABA3-6B90A8308EEE}" type="pres">
      <dgm:prSet presAssocID="{480B8545-7414-4A73-97A7-27475352D362}" presName="hierChild2" presStyleCnt="0"/>
      <dgm:spPr/>
    </dgm:pt>
    <dgm:pt modelId="{C108FA7A-D296-4AA2-834A-8D4714FD2091}" type="pres">
      <dgm:prSet presAssocID="{E62C175C-A578-4EA1-BB87-33FCD5972A9D}" presName="Name10" presStyleLbl="parChTrans1D2" presStyleIdx="0" presStyleCnt="2"/>
      <dgm:spPr/>
    </dgm:pt>
    <dgm:pt modelId="{9F731895-BDE8-4F52-A974-C4371E733C99}" type="pres">
      <dgm:prSet presAssocID="{7D9D6A5D-BEDD-48ED-BC27-AA5E338546AB}" presName="hierRoot2" presStyleCnt="0"/>
      <dgm:spPr/>
    </dgm:pt>
    <dgm:pt modelId="{40B9AEA7-AF59-4BB5-9949-2C23A803D97C}" type="pres">
      <dgm:prSet presAssocID="{7D9D6A5D-BEDD-48ED-BC27-AA5E338546AB}" presName="composite2" presStyleCnt="0"/>
      <dgm:spPr/>
    </dgm:pt>
    <dgm:pt modelId="{37E063B0-DF3F-4A87-8624-9A26AEE56361}" type="pres">
      <dgm:prSet presAssocID="{7D9D6A5D-BEDD-48ED-BC27-AA5E338546AB}" presName="background2" presStyleLbl="node2" presStyleIdx="0" presStyleCnt="2"/>
      <dgm:spPr/>
    </dgm:pt>
    <dgm:pt modelId="{EEF0D5B7-B017-4578-9E5F-EE3F09DB955B}" type="pres">
      <dgm:prSet presAssocID="{7D9D6A5D-BEDD-48ED-BC27-AA5E338546AB}" presName="text2" presStyleLbl="fgAcc2" presStyleIdx="0" presStyleCnt="2">
        <dgm:presLayoutVars>
          <dgm:chPref val="3"/>
        </dgm:presLayoutVars>
      </dgm:prSet>
      <dgm:spPr/>
    </dgm:pt>
    <dgm:pt modelId="{26796545-668D-44EA-B83B-7154E959DFB2}" type="pres">
      <dgm:prSet presAssocID="{7D9D6A5D-BEDD-48ED-BC27-AA5E338546AB}" presName="hierChild3" presStyleCnt="0"/>
      <dgm:spPr/>
    </dgm:pt>
    <dgm:pt modelId="{C307D3D0-587C-44BF-841E-722838BA095A}" type="pres">
      <dgm:prSet presAssocID="{E1EDC640-A736-4973-BDFF-FE9834ABF006}" presName="Name10" presStyleLbl="parChTrans1D2" presStyleIdx="1" presStyleCnt="2"/>
      <dgm:spPr/>
    </dgm:pt>
    <dgm:pt modelId="{575D7B18-9DBF-4B48-BB73-92E5D7889558}" type="pres">
      <dgm:prSet presAssocID="{9E25A5CB-7B80-4208-B2BD-231D04EEEEF7}" presName="hierRoot2" presStyleCnt="0"/>
      <dgm:spPr/>
    </dgm:pt>
    <dgm:pt modelId="{CB977FB4-BD57-4CF3-B42B-3ADB4C3CBDD9}" type="pres">
      <dgm:prSet presAssocID="{9E25A5CB-7B80-4208-B2BD-231D04EEEEF7}" presName="composite2" presStyleCnt="0"/>
      <dgm:spPr/>
    </dgm:pt>
    <dgm:pt modelId="{5BC9FCB3-0E05-4CBE-9374-6891165CB08C}" type="pres">
      <dgm:prSet presAssocID="{9E25A5CB-7B80-4208-B2BD-231D04EEEEF7}" presName="background2" presStyleLbl="node2" presStyleIdx="1" presStyleCnt="2"/>
      <dgm:spPr/>
    </dgm:pt>
    <dgm:pt modelId="{024BA5D3-E865-4C3C-89C1-79F4012E9CF1}" type="pres">
      <dgm:prSet presAssocID="{9E25A5CB-7B80-4208-B2BD-231D04EEEEF7}" presName="text2" presStyleLbl="fgAcc2" presStyleIdx="1" presStyleCnt="2">
        <dgm:presLayoutVars>
          <dgm:chPref val="3"/>
        </dgm:presLayoutVars>
      </dgm:prSet>
      <dgm:spPr/>
    </dgm:pt>
    <dgm:pt modelId="{98D6D91F-9BC1-4C00-B353-46A3E7C4949E}" type="pres">
      <dgm:prSet presAssocID="{9E25A5CB-7B80-4208-B2BD-231D04EEEEF7}" presName="hierChild3" presStyleCnt="0"/>
      <dgm:spPr/>
    </dgm:pt>
    <dgm:pt modelId="{BBBE45E5-87BE-4E48-9645-AD962BA5DD64}" type="pres">
      <dgm:prSet presAssocID="{D046101C-F65B-4704-8A94-A4E1A479CD5C}" presName="hierRoot1" presStyleCnt="0"/>
      <dgm:spPr/>
    </dgm:pt>
    <dgm:pt modelId="{91157744-BC81-4523-BB85-9AD359C4EE10}" type="pres">
      <dgm:prSet presAssocID="{D046101C-F65B-4704-8A94-A4E1A479CD5C}" presName="composite" presStyleCnt="0"/>
      <dgm:spPr/>
    </dgm:pt>
    <dgm:pt modelId="{DF85B913-1AAD-4409-979B-3C4A1B55BA28}" type="pres">
      <dgm:prSet presAssocID="{D046101C-F65B-4704-8A94-A4E1A479CD5C}" presName="background" presStyleLbl="node0" presStyleIdx="2" presStyleCnt="3"/>
      <dgm:spPr/>
    </dgm:pt>
    <dgm:pt modelId="{D4BA75C8-94D1-4F5D-864F-D3104147E393}" type="pres">
      <dgm:prSet presAssocID="{D046101C-F65B-4704-8A94-A4E1A479CD5C}" presName="text" presStyleLbl="fgAcc0" presStyleIdx="2" presStyleCnt="3">
        <dgm:presLayoutVars>
          <dgm:chPref val="3"/>
        </dgm:presLayoutVars>
      </dgm:prSet>
      <dgm:spPr/>
    </dgm:pt>
    <dgm:pt modelId="{57A16965-5A05-42B7-B04D-61B8F3BC0731}" type="pres">
      <dgm:prSet presAssocID="{D046101C-F65B-4704-8A94-A4E1A479CD5C}" presName="hierChild2" presStyleCnt="0"/>
      <dgm:spPr/>
    </dgm:pt>
  </dgm:ptLst>
  <dgm:cxnLst>
    <dgm:cxn modelId="{3DB9B914-D6F8-41E7-9D5C-3454EAC785FC}" type="presOf" srcId="{9E25A5CB-7B80-4208-B2BD-231D04EEEEF7}" destId="{024BA5D3-E865-4C3C-89C1-79F4012E9CF1}" srcOrd="0" destOrd="0" presId="urn:microsoft.com/office/officeart/2005/8/layout/hierarchy1"/>
    <dgm:cxn modelId="{BAFBCA28-F7DA-4A2D-A963-D8994AE854EF}" type="presOf" srcId="{E1EDC640-A736-4973-BDFF-FE9834ABF006}" destId="{C307D3D0-587C-44BF-841E-722838BA095A}" srcOrd="0" destOrd="0" presId="urn:microsoft.com/office/officeart/2005/8/layout/hierarchy1"/>
    <dgm:cxn modelId="{574D9D3C-29F4-4764-AE2E-A93CCB543012}" type="presOf" srcId="{480B8545-7414-4A73-97A7-27475352D362}" destId="{160E629A-211C-412A-ADB4-74612C7B78BC}" srcOrd="0" destOrd="0" presId="urn:microsoft.com/office/officeart/2005/8/layout/hierarchy1"/>
    <dgm:cxn modelId="{12A36651-6DF4-4DE7-B21A-FA63AE8C74A6}" type="presOf" srcId="{7BE055E2-7D87-46D6-BED6-27EEF4252992}" destId="{C1A7C8B2-CC12-4B60-A338-7E42013FBEF7}" srcOrd="0" destOrd="0" presId="urn:microsoft.com/office/officeart/2005/8/layout/hierarchy1"/>
    <dgm:cxn modelId="{50FF3957-0A5A-4446-AB7F-78736E66E9BB}" srcId="{480B8545-7414-4A73-97A7-27475352D362}" destId="{7D9D6A5D-BEDD-48ED-BC27-AA5E338546AB}" srcOrd="0" destOrd="0" parTransId="{E62C175C-A578-4EA1-BB87-33FCD5972A9D}" sibTransId="{D30825FC-53FF-4DA0-8489-FC84521C339B}"/>
    <dgm:cxn modelId="{3A7ABA84-1438-42A6-8C62-58A69621FEA7}" srcId="{7BE055E2-7D87-46D6-BED6-27EEF4252992}" destId="{A31326D3-77CF-44E5-8C7F-362D779F2E91}" srcOrd="0" destOrd="0" parTransId="{2CF8C74C-51BD-48B2-8174-C795AA5726D8}" sibTransId="{BA364831-6CEA-494D-9CFC-F514D4065C85}"/>
    <dgm:cxn modelId="{DCC03797-6441-48A6-91C4-341C2851DB85}" srcId="{7BE055E2-7D87-46D6-BED6-27EEF4252992}" destId="{D046101C-F65B-4704-8A94-A4E1A479CD5C}" srcOrd="2" destOrd="0" parTransId="{D251177A-FD8C-403D-ABBF-F09301C5E829}" sibTransId="{208BA133-4C1E-489B-A01B-17C1A92CADFD}"/>
    <dgm:cxn modelId="{2BA5E397-CD01-4CAF-9F41-2FFA047A8932}" srcId="{7BE055E2-7D87-46D6-BED6-27EEF4252992}" destId="{480B8545-7414-4A73-97A7-27475352D362}" srcOrd="1" destOrd="0" parTransId="{2B1FC6AB-EF1B-4F78-AA31-678DC6314007}" sibTransId="{8AEDCA67-61BA-4792-AC89-E7F38AE702D0}"/>
    <dgm:cxn modelId="{C70DCDA0-90CF-40A4-A6D2-4598F465888E}" srcId="{480B8545-7414-4A73-97A7-27475352D362}" destId="{9E25A5CB-7B80-4208-B2BD-231D04EEEEF7}" srcOrd="1" destOrd="0" parTransId="{E1EDC640-A736-4973-BDFF-FE9834ABF006}" sibTransId="{B575C61E-A27C-4C23-A35B-B264E9D8E079}"/>
    <dgm:cxn modelId="{452BC3DF-AEDD-43AB-882F-93B0DF3D7C6D}" type="presOf" srcId="{7D9D6A5D-BEDD-48ED-BC27-AA5E338546AB}" destId="{EEF0D5B7-B017-4578-9E5F-EE3F09DB955B}" srcOrd="0" destOrd="0" presId="urn:microsoft.com/office/officeart/2005/8/layout/hierarchy1"/>
    <dgm:cxn modelId="{7ACD31F4-C85F-425D-9ED6-FC2FA59ABDF9}" type="presOf" srcId="{D046101C-F65B-4704-8A94-A4E1A479CD5C}" destId="{D4BA75C8-94D1-4F5D-864F-D3104147E393}" srcOrd="0" destOrd="0" presId="urn:microsoft.com/office/officeart/2005/8/layout/hierarchy1"/>
    <dgm:cxn modelId="{3D79B0FB-3FD1-49CF-9837-D592109CD69A}" type="presOf" srcId="{A31326D3-77CF-44E5-8C7F-362D779F2E91}" destId="{64C9B54D-CDD1-4D45-B8A5-D79DD9EDFF3C}" srcOrd="0" destOrd="0" presId="urn:microsoft.com/office/officeart/2005/8/layout/hierarchy1"/>
    <dgm:cxn modelId="{C48806FF-363F-4D4D-9B2C-28DDF9DC01CF}" type="presOf" srcId="{E62C175C-A578-4EA1-BB87-33FCD5972A9D}" destId="{C108FA7A-D296-4AA2-834A-8D4714FD2091}" srcOrd="0" destOrd="0" presId="urn:microsoft.com/office/officeart/2005/8/layout/hierarchy1"/>
    <dgm:cxn modelId="{4C6BBFB9-3027-4580-944B-5CE5C448CC6A}" type="presParOf" srcId="{C1A7C8B2-CC12-4B60-A338-7E42013FBEF7}" destId="{EE58C24E-78DB-47FA-954F-F04B784699DB}" srcOrd="0" destOrd="0" presId="urn:microsoft.com/office/officeart/2005/8/layout/hierarchy1"/>
    <dgm:cxn modelId="{CC8A2374-5F25-4494-8C04-D1B545CC9410}" type="presParOf" srcId="{EE58C24E-78DB-47FA-954F-F04B784699DB}" destId="{BB8514B0-1662-4F69-9245-5D5F0BBCD5A0}" srcOrd="0" destOrd="0" presId="urn:microsoft.com/office/officeart/2005/8/layout/hierarchy1"/>
    <dgm:cxn modelId="{CCD95F82-A5D5-4905-8159-6660999083C3}" type="presParOf" srcId="{BB8514B0-1662-4F69-9245-5D5F0BBCD5A0}" destId="{08EC83BB-3E96-4F4F-900E-AB4F1F4551CF}" srcOrd="0" destOrd="0" presId="urn:microsoft.com/office/officeart/2005/8/layout/hierarchy1"/>
    <dgm:cxn modelId="{3D52E391-E442-4A66-B284-C9815D764764}" type="presParOf" srcId="{BB8514B0-1662-4F69-9245-5D5F0BBCD5A0}" destId="{64C9B54D-CDD1-4D45-B8A5-D79DD9EDFF3C}" srcOrd="1" destOrd="0" presId="urn:microsoft.com/office/officeart/2005/8/layout/hierarchy1"/>
    <dgm:cxn modelId="{A247F371-0629-4439-B95C-EF39EB4182F8}" type="presParOf" srcId="{EE58C24E-78DB-47FA-954F-F04B784699DB}" destId="{61BE9FC2-2134-4E94-8766-922C5A012D2D}" srcOrd="1" destOrd="0" presId="urn:microsoft.com/office/officeart/2005/8/layout/hierarchy1"/>
    <dgm:cxn modelId="{F6B6AE5A-FEB8-4530-B679-E0513FA5FDFA}" type="presParOf" srcId="{C1A7C8B2-CC12-4B60-A338-7E42013FBEF7}" destId="{6050C138-883C-4F22-8099-84BBBED1D270}" srcOrd="1" destOrd="0" presId="urn:microsoft.com/office/officeart/2005/8/layout/hierarchy1"/>
    <dgm:cxn modelId="{60C9153E-ED82-4282-88B4-2C99812C8ED7}" type="presParOf" srcId="{6050C138-883C-4F22-8099-84BBBED1D270}" destId="{A5E3BB78-9A57-4B0D-8737-C66DEAC920FC}" srcOrd="0" destOrd="0" presId="urn:microsoft.com/office/officeart/2005/8/layout/hierarchy1"/>
    <dgm:cxn modelId="{3F3C667B-6E19-4926-BFA1-240740E7B1F6}" type="presParOf" srcId="{A5E3BB78-9A57-4B0D-8737-C66DEAC920FC}" destId="{264803B5-5E60-4D81-8A3C-1A74B7DCD62F}" srcOrd="0" destOrd="0" presId="urn:microsoft.com/office/officeart/2005/8/layout/hierarchy1"/>
    <dgm:cxn modelId="{6A33125F-9F37-4ADD-AA84-8B773A1CE261}" type="presParOf" srcId="{A5E3BB78-9A57-4B0D-8737-C66DEAC920FC}" destId="{160E629A-211C-412A-ADB4-74612C7B78BC}" srcOrd="1" destOrd="0" presId="urn:microsoft.com/office/officeart/2005/8/layout/hierarchy1"/>
    <dgm:cxn modelId="{99582216-CEC6-4184-B4BD-39A546025BC4}" type="presParOf" srcId="{6050C138-883C-4F22-8099-84BBBED1D270}" destId="{A8655EA0-25AA-4F63-ABA3-6B90A8308EEE}" srcOrd="1" destOrd="0" presId="urn:microsoft.com/office/officeart/2005/8/layout/hierarchy1"/>
    <dgm:cxn modelId="{F91962D0-D07F-4054-AE78-3DC5927777E0}" type="presParOf" srcId="{A8655EA0-25AA-4F63-ABA3-6B90A8308EEE}" destId="{C108FA7A-D296-4AA2-834A-8D4714FD2091}" srcOrd="0" destOrd="0" presId="urn:microsoft.com/office/officeart/2005/8/layout/hierarchy1"/>
    <dgm:cxn modelId="{34E6F12C-64D0-41B5-BDD5-4794A5009B36}" type="presParOf" srcId="{A8655EA0-25AA-4F63-ABA3-6B90A8308EEE}" destId="{9F731895-BDE8-4F52-A974-C4371E733C99}" srcOrd="1" destOrd="0" presId="urn:microsoft.com/office/officeart/2005/8/layout/hierarchy1"/>
    <dgm:cxn modelId="{D74869C5-E6EA-4100-B811-D0887DBECD47}" type="presParOf" srcId="{9F731895-BDE8-4F52-A974-C4371E733C99}" destId="{40B9AEA7-AF59-4BB5-9949-2C23A803D97C}" srcOrd="0" destOrd="0" presId="urn:microsoft.com/office/officeart/2005/8/layout/hierarchy1"/>
    <dgm:cxn modelId="{D1144395-D6F5-452B-898F-4DB4EBABB2E0}" type="presParOf" srcId="{40B9AEA7-AF59-4BB5-9949-2C23A803D97C}" destId="{37E063B0-DF3F-4A87-8624-9A26AEE56361}" srcOrd="0" destOrd="0" presId="urn:microsoft.com/office/officeart/2005/8/layout/hierarchy1"/>
    <dgm:cxn modelId="{9DC1C97F-C184-4B93-AB64-4B3CB84808CF}" type="presParOf" srcId="{40B9AEA7-AF59-4BB5-9949-2C23A803D97C}" destId="{EEF0D5B7-B017-4578-9E5F-EE3F09DB955B}" srcOrd="1" destOrd="0" presId="urn:microsoft.com/office/officeart/2005/8/layout/hierarchy1"/>
    <dgm:cxn modelId="{4DB21D3A-45C4-47EB-8D1A-F1F55B5D3ACC}" type="presParOf" srcId="{9F731895-BDE8-4F52-A974-C4371E733C99}" destId="{26796545-668D-44EA-B83B-7154E959DFB2}" srcOrd="1" destOrd="0" presId="urn:microsoft.com/office/officeart/2005/8/layout/hierarchy1"/>
    <dgm:cxn modelId="{C8907FFD-79A2-4D14-A1E8-3ED2049822F3}" type="presParOf" srcId="{A8655EA0-25AA-4F63-ABA3-6B90A8308EEE}" destId="{C307D3D0-587C-44BF-841E-722838BA095A}" srcOrd="2" destOrd="0" presId="urn:microsoft.com/office/officeart/2005/8/layout/hierarchy1"/>
    <dgm:cxn modelId="{01A91F7F-DC8A-4D89-AAE4-5A3E878BCCC6}" type="presParOf" srcId="{A8655EA0-25AA-4F63-ABA3-6B90A8308EEE}" destId="{575D7B18-9DBF-4B48-BB73-92E5D7889558}" srcOrd="3" destOrd="0" presId="urn:microsoft.com/office/officeart/2005/8/layout/hierarchy1"/>
    <dgm:cxn modelId="{4845800E-4A21-4B8F-8359-33008A35320C}" type="presParOf" srcId="{575D7B18-9DBF-4B48-BB73-92E5D7889558}" destId="{CB977FB4-BD57-4CF3-B42B-3ADB4C3CBDD9}" srcOrd="0" destOrd="0" presId="urn:microsoft.com/office/officeart/2005/8/layout/hierarchy1"/>
    <dgm:cxn modelId="{6C1104D7-2E86-4165-839C-D5CF008421DC}" type="presParOf" srcId="{CB977FB4-BD57-4CF3-B42B-3ADB4C3CBDD9}" destId="{5BC9FCB3-0E05-4CBE-9374-6891165CB08C}" srcOrd="0" destOrd="0" presId="urn:microsoft.com/office/officeart/2005/8/layout/hierarchy1"/>
    <dgm:cxn modelId="{AA17F217-9EEE-467A-A1B1-DF3FB25E18A2}" type="presParOf" srcId="{CB977FB4-BD57-4CF3-B42B-3ADB4C3CBDD9}" destId="{024BA5D3-E865-4C3C-89C1-79F4012E9CF1}" srcOrd="1" destOrd="0" presId="urn:microsoft.com/office/officeart/2005/8/layout/hierarchy1"/>
    <dgm:cxn modelId="{8FD0F66D-652B-42E2-81BF-C0E8747DEAAA}" type="presParOf" srcId="{575D7B18-9DBF-4B48-BB73-92E5D7889558}" destId="{98D6D91F-9BC1-4C00-B353-46A3E7C4949E}" srcOrd="1" destOrd="0" presId="urn:microsoft.com/office/officeart/2005/8/layout/hierarchy1"/>
    <dgm:cxn modelId="{CAC53848-D0B2-4AB3-9E3A-A64301F09F5E}" type="presParOf" srcId="{C1A7C8B2-CC12-4B60-A338-7E42013FBEF7}" destId="{BBBE45E5-87BE-4E48-9645-AD962BA5DD64}" srcOrd="2" destOrd="0" presId="urn:microsoft.com/office/officeart/2005/8/layout/hierarchy1"/>
    <dgm:cxn modelId="{3203D3BA-EDAA-4F94-8539-34379CB52070}" type="presParOf" srcId="{BBBE45E5-87BE-4E48-9645-AD962BA5DD64}" destId="{91157744-BC81-4523-BB85-9AD359C4EE10}" srcOrd="0" destOrd="0" presId="urn:microsoft.com/office/officeart/2005/8/layout/hierarchy1"/>
    <dgm:cxn modelId="{457B65E7-1251-4260-BCB3-67108255AFB2}" type="presParOf" srcId="{91157744-BC81-4523-BB85-9AD359C4EE10}" destId="{DF85B913-1AAD-4409-979B-3C4A1B55BA28}" srcOrd="0" destOrd="0" presId="urn:microsoft.com/office/officeart/2005/8/layout/hierarchy1"/>
    <dgm:cxn modelId="{27CF6760-C9C3-48D4-BEB3-2D765CF68442}" type="presParOf" srcId="{91157744-BC81-4523-BB85-9AD359C4EE10}" destId="{D4BA75C8-94D1-4F5D-864F-D3104147E393}" srcOrd="1" destOrd="0" presId="urn:microsoft.com/office/officeart/2005/8/layout/hierarchy1"/>
    <dgm:cxn modelId="{C16548F7-C0BB-4AD5-9142-883CF3533E0F}" type="presParOf" srcId="{BBBE45E5-87BE-4E48-9645-AD962BA5DD64}" destId="{57A16965-5A05-42B7-B04D-61B8F3BC073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218F158-FF94-492D-B2D9-E29662A1518B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C51A28CB-D450-424C-B3D9-7EB86AB385A3}">
      <dgm:prSet/>
      <dgm:spPr/>
      <dgm:t>
        <a:bodyPr/>
        <a:lstStyle/>
        <a:p>
          <a:pPr>
            <a:defRPr cap="all"/>
          </a:pPr>
          <a:r>
            <a:rPr lang="en-US" dirty="0"/>
            <a:t>Think Cultural Health – CLAS online E-module</a:t>
          </a:r>
        </a:p>
      </dgm:t>
    </dgm:pt>
    <dgm:pt modelId="{E56A8192-6CC5-409D-9E14-F4810E1F2DDC}" type="parTrans" cxnId="{98D945A9-1EAF-4569-9927-FDEB2E1ECC25}">
      <dgm:prSet/>
      <dgm:spPr/>
      <dgm:t>
        <a:bodyPr/>
        <a:lstStyle/>
        <a:p>
          <a:endParaRPr lang="en-US"/>
        </a:p>
      </dgm:t>
    </dgm:pt>
    <dgm:pt modelId="{4D686BD0-A074-4D24-A0AB-80D2409CCBA1}" type="sibTrans" cxnId="{98D945A9-1EAF-4569-9927-FDEB2E1ECC25}">
      <dgm:prSet/>
      <dgm:spPr/>
      <dgm:t>
        <a:bodyPr/>
        <a:lstStyle/>
        <a:p>
          <a:endParaRPr lang="en-US"/>
        </a:p>
      </dgm:t>
    </dgm:pt>
    <dgm:pt modelId="{8443C416-B7FC-4999-94C3-45A0DC07C84F}">
      <dgm:prSet/>
      <dgm:spPr/>
      <dgm:t>
        <a:bodyPr/>
        <a:lstStyle/>
        <a:p>
          <a:pPr>
            <a:defRPr cap="all"/>
          </a:pPr>
          <a:r>
            <a:rPr lang="en-US"/>
            <a:t>(In)equity Inbox tool to facilitate feedback and discussion</a:t>
          </a:r>
        </a:p>
      </dgm:t>
    </dgm:pt>
    <dgm:pt modelId="{F97099BC-A706-467C-B5F4-1FAD6D3674B2}" type="parTrans" cxnId="{75BAF8C1-EA66-4912-823F-B01726B98FB8}">
      <dgm:prSet/>
      <dgm:spPr/>
      <dgm:t>
        <a:bodyPr/>
        <a:lstStyle/>
        <a:p>
          <a:endParaRPr lang="en-US"/>
        </a:p>
      </dgm:t>
    </dgm:pt>
    <dgm:pt modelId="{E45E8191-E45B-48E2-8F1F-2E8C71829AFF}" type="sibTrans" cxnId="{75BAF8C1-EA66-4912-823F-B01726B98FB8}">
      <dgm:prSet/>
      <dgm:spPr/>
      <dgm:t>
        <a:bodyPr/>
        <a:lstStyle/>
        <a:p>
          <a:endParaRPr lang="en-US"/>
        </a:p>
      </dgm:t>
    </dgm:pt>
    <dgm:pt modelId="{AE84EAD8-30C3-4889-8335-413788D244A0}">
      <dgm:prSet/>
      <dgm:spPr/>
      <dgm:t>
        <a:bodyPr/>
        <a:lstStyle/>
        <a:p>
          <a:pPr>
            <a:defRPr cap="all"/>
          </a:pPr>
          <a:r>
            <a:rPr lang="en-US"/>
            <a:t>PQI SPEAK UP Training</a:t>
          </a:r>
        </a:p>
      </dgm:t>
    </dgm:pt>
    <dgm:pt modelId="{336AB1B0-FE6A-4199-9C6A-AEF9837C0A75}" type="parTrans" cxnId="{CB6E69A2-ADD4-481E-A8EC-7547DE91DEA1}">
      <dgm:prSet/>
      <dgm:spPr/>
      <dgm:t>
        <a:bodyPr/>
        <a:lstStyle/>
        <a:p>
          <a:endParaRPr lang="en-US"/>
        </a:p>
      </dgm:t>
    </dgm:pt>
    <dgm:pt modelId="{62978F6B-8552-4A09-A88D-8794654EFA5F}" type="sibTrans" cxnId="{CB6E69A2-ADD4-481E-A8EC-7547DE91DEA1}">
      <dgm:prSet/>
      <dgm:spPr/>
      <dgm:t>
        <a:bodyPr/>
        <a:lstStyle/>
        <a:p>
          <a:endParaRPr lang="en-US"/>
        </a:p>
      </dgm:t>
    </dgm:pt>
    <dgm:pt modelId="{F36E2AFD-0EF4-4293-B449-7C041170790D}">
      <dgm:prSet/>
      <dgm:spPr/>
      <dgm:t>
        <a:bodyPr/>
        <a:lstStyle/>
        <a:p>
          <a:pPr>
            <a:defRPr cap="all"/>
          </a:pPr>
          <a:r>
            <a:rPr lang="en-US"/>
            <a:t>CDC Hear Her Campaign</a:t>
          </a:r>
        </a:p>
      </dgm:t>
    </dgm:pt>
    <dgm:pt modelId="{0B30E83A-6D7F-4856-9DD5-5BEEEC1D638B}" type="parTrans" cxnId="{794CB9AC-CD96-4262-8C33-71E56C35D90E}">
      <dgm:prSet/>
      <dgm:spPr/>
      <dgm:t>
        <a:bodyPr/>
        <a:lstStyle/>
        <a:p>
          <a:endParaRPr lang="en-US"/>
        </a:p>
      </dgm:t>
    </dgm:pt>
    <dgm:pt modelId="{BD8382B1-7BBA-4252-908A-FEB1A1B4E2E6}" type="sibTrans" cxnId="{794CB9AC-CD96-4262-8C33-71E56C35D90E}">
      <dgm:prSet/>
      <dgm:spPr/>
      <dgm:t>
        <a:bodyPr/>
        <a:lstStyle/>
        <a:p>
          <a:endParaRPr lang="en-US"/>
        </a:p>
      </dgm:t>
    </dgm:pt>
    <dgm:pt modelId="{0D8CE838-2B46-4A1F-B80C-29B093190922}">
      <dgm:prSet/>
      <dgm:spPr/>
      <dgm:t>
        <a:bodyPr/>
        <a:lstStyle/>
        <a:p>
          <a:pPr>
            <a:defRPr cap="all"/>
          </a:pPr>
          <a:r>
            <a:rPr lang="en-US"/>
            <a:t>Harvard Project Implicit Association Test</a:t>
          </a:r>
        </a:p>
      </dgm:t>
    </dgm:pt>
    <dgm:pt modelId="{5E269A9B-1DA9-404C-A15C-E007CFB3F0E6}" type="parTrans" cxnId="{4D0EAD33-69DF-42B5-BAC3-755C4B4DFA20}">
      <dgm:prSet/>
      <dgm:spPr/>
      <dgm:t>
        <a:bodyPr/>
        <a:lstStyle/>
        <a:p>
          <a:endParaRPr lang="en-US"/>
        </a:p>
      </dgm:t>
    </dgm:pt>
    <dgm:pt modelId="{CE1F7EB2-9275-461B-8055-F8E7C6419C92}" type="sibTrans" cxnId="{4D0EAD33-69DF-42B5-BAC3-755C4B4DFA20}">
      <dgm:prSet/>
      <dgm:spPr/>
      <dgm:t>
        <a:bodyPr/>
        <a:lstStyle/>
        <a:p>
          <a:endParaRPr lang="en-US"/>
        </a:p>
      </dgm:t>
    </dgm:pt>
    <dgm:pt modelId="{837DECBE-9690-447F-B38E-BACE3014BFDD}">
      <dgm:prSet/>
      <dgm:spPr/>
      <dgm:t>
        <a:bodyPr/>
        <a:lstStyle/>
        <a:p>
          <a:pPr rtl="0">
            <a:defRPr cap="all"/>
          </a:pPr>
          <a:r>
            <a:rPr lang="en-US"/>
            <a:t>Addressing Diversity within Healthcare Hiring</a:t>
          </a:r>
          <a:r>
            <a:rPr lang="en-US">
              <a:latin typeface="Calibri" panose="020F0502020204030204"/>
            </a:rPr>
            <a:t> Tools</a:t>
          </a:r>
          <a:endParaRPr lang="en-US"/>
        </a:p>
      </dgm:t>
    </dgm:pt>
    <dgm:pt modelId="{5AFACB98-47CF-490D-A465-7267744B6975}" type="parTrans" cxnId="{37F18027-1DD9-4DDE-A1FA-A77AC190A6B7}">
      <dgm:prSet/>
      <dgm:spPr/>
      <dgm:t>
        <a:bodyPr/>
        <a:lstStyle/>
        <a:p>
          <a:endParaRPr lang="en-US"/>
        </a:p>
      </dgm:t>
    </dgm:pt>
    <dgm:pt modelId="{D4C8070C-2913-4D0B-95AC-B4FC6C91B941}" type="sibTrans" cxnId="{37F18027-1DD9-4DDE-A1FA-A77AC190A6B7}">
      <dgm:prSet/>
      <dgm:spPr/>
      <dgm:t>
        <a:bodyPr/>
        <a:lstStyle/>
        <a:p>
          <a:endParaRPr lang="en-US"/>
        </a:p>
      </dgm:t>
    </dgm:pt>
    <dgm:pt modelId="{866384CE-E638-4C2F-AF0B-179FD5CFD704}" type="pres">
      <dgm:prSet presAssocID="{4218F158-FF94-492D-B2D9-E29662A1518B}" presName="diagram" presStyleCnt="0">
        <dgm:presLayoutVars>
          <dgm:dir/>
          <dgm:resizeHandles val="exact"/>
        </dgm:presLayoutVars>
      </dgm:prSet>
      <dgm:spPr/>
    </dgm:pt>
    <dgm:pt modelId="{555AA05C-4595-467D-8D8E-B81B2B6EAD5B}" type="pres">
      <dgm:prSet presAssocID="{C51A28CB-D450-424C-B3D9-7EB86AB385A3}" presName="node" presStyleLbl="node1" presStyleIdx="0" presStyleCnt="6">
        <dgm:presLayoutVars>
          <dgm:bulletEnabled val="1"/>
        </dgm:presLayoutVars>
      </dgm:prSet>
      <dgm:spPr/>
    </dgm:pt>
    <dgm:pt modelId="{98EE25F5-83A3-4395-8287-ADEE968BA24B}" type="pres">
      <dgm:prSet presAssocID="{4D686BD0-A074-4D24-A0AB-80D2409CCBA1}" presName="sibTrans" presStyleCnt="0"/>
      <dgm:spPr/>
    </dgm:pt>
    <dgm:pt modelId="{45705608-65CB-42F6-9B91-73D7B8BCBE17}" type="pres">
      <dgm:prSet presAssocID="{8443C416-B7FC-4999-94C3-45A0DC07C84F}" presName="node" presStyleLbl="node1" presStyleIdx="1" presStyleCnt="6">
        <dgm:presLayoutVars>
          <dgm:bulletEnabled val="1"/>
        </dgm:presLayoutVars>
      </dgm:prSet>
      <dgm:spPr/>
    </dgm:pt>
    <dgm:pt modelId="{0FE52818-01CB-4B66-8710-99EC3F3B7439}" type="pres">
      <dgm:prSet presAssocID="{E45E8191-E45B-48E2-8F1F-2E8C71829AFF}" presName="sibTrans" presStyleCnt="0"/>
      <dgm:spPr/>
    </dgm:pt>
    <dgm:pt modelId="{96FBC57E-884D-484F-B33A-37090EEDE2BD}" type="pres">
      <dgm:prSet presAssocID="{AE84EAD8-30C3-4889-8335-413788D244A0}" presName="node" presStyleLbl="node1" presStyleIdx="2" presStyleCnt="6">
        <dgm:presLayoutVars>
          <dgm:bulletEnabled val="1"/>
        </dgm:presLayoutVars>
      </dgm:prSet>
      <dgm:spPr/>
    </dgm:pt>
    <dgm:pt modelId="{03F78526-4772-489E-9E55-7D9C45266EC7}" type="pres">
      <dgm:prSet presAssocID="{62978F6B-8552-4A09-A88D-8794654EFA5F}" presName="sibTrans" presStyleCnt="0"/>
      <dgm:spPr/>
    </dgm:pt>
    <dgm:pt modelId="{AD5D5BBD-F6D2-44DA-AA25-A6CD58B0E801}" type="pres">
      <dgm:prSet presAssocID="{F36E2AFD-0EF4-4293-B449-7C041170790D}" presName="node" presStyleLbl="node1" presStyleIdx="3" presStyleCnt="6">
        <dgm:presLayoutVars>
          <dgm:bulletEnabled val="1"/>
        </dgm:presLayoutVars>
      </dgm:prSet>
      <dgm:spPr/>
    </dgm:pt>
    <dgm:pt modelId="{9C304E55-78A8-47D2-8C25-32892F930FBB}" type="pres">
      <dgm:prSet presAssocID="{BD8382B1-7BBA-4252-908A-FEB1A1B4E2E6}" presName="sibTrans" presStyleCnt="0"/>
      <dgm:spPr/>
    </dgm:pt>
    <dgm:pt modelId="{689E75F8-CE1F-4216-85DE-28C06A12E0C9}" type="pres">
      <dgm:prSet presAssocID="{0D8CE838-2B46-4A1F-B80C-29B093190922}" presName="node" presStyleLbl="node1" presStyleIdx="4" presStyleCnt="6">
        <dgm:presLayoutVars>
          <dgm:bulletEnabled val="1"/>
        </dgm:presLayoutVars>
      </dgm:prSet>
      <dgm:spPr/>
    </dgm:pt>
    <dgm:pt modelId="{CCFA8897-8E82-4AFA-ADEA-E46E743E3801}" type="pres">
      <dgm:prSet presAssocID="{CE1F7EB2-9275-461B-8055-F8E7C6419C92}" presName="sibTrans" presStyleCnt="0"/>
      <dgm:spPr/>
    </dgm:pt>
    <dgm:pt modelId="{96649414-E77B-442F-99B9-4AE8B4532AB5}" type="pres">
      <dgm:prSet presAssocID="{837DECBE-9690-447F-B38E-BACE3014BFDD}" presName="node" presStyleLbl="node1" presStyleIdx="5" presStyleCnt="6">
        <dgm:presLayoutVars>
          <dgm:bulletEnabled val="1"/>
        </dgm:presLayoutVars>
      </dgm:prSet>
      <dgm:spPr/>
    </dgm:pt>
  </dgm:ptLst>
  <dgm:cxnLst>
    <dgm:cxn modelId="{37F18027-1DD9-4DDE-A1FA-A77AC190A6B7}" srcId="{4218F158-FF94-492D-B2D9-E29662A1518B}" destId="{837DECBE-9690-447F-B38E-BACE3014BFDD}" srcOrd="5" destOrd="0" parTransId="{5AFACB98-47CF-490D-A465-7267744B6975}" sibTransId="{D4C8070C-2913-4D0B-95AC-B4FC6C91B941}"/>
    <dgm:cxn modelId="{4D0EAD33-69DF-42B5-BAC3-755C4B4DFA20}" srcId="{4218F158-FF94-492D-B2D9-E29662A1518B}" destId="{0D8CE838-2B46-4A1F-B80C-29B093190922}" srcOrd="4" destOrd="0" parTransId="{5E269A9B-1DA9-404C-A15C-E007CFB3F0E6}" sibTransId="{CE1F7EB2-9275-461B-8055-F8E7C6419C92}"/>
    <dgm:cxn modelId="{D8CC5E46-41E8-4B8C-AED5-B7D057E54A6C}" type="presOf" srcId="{0D8CE838-2B46-4A1F-B80C-29B093190922}" destId="{689E75F8-CE1F-4216-85DE-28C06A12E0C9}" srcOrd="0" destOrd="0" presId="urn:microsoft.com/office/officeart/2005/8/layout/default"/>
    <dgm:cxn modelId="{2F17D07C-EE5A-4A77-ACF1-841A505EEC14}" type="presOf" srcId="{8443C416-B7FC-4999-94C3-45A0DC07C84F}" destId="{45705608-65CB-42F6-9B91-73D7B8BCBE17}" srcOrd="0" destOrd="0" presId="urn:microsoft.com/office/officeart/2005/8/layout/default"/>
    <dgm:cxn modelId="{2A10D583-6389-46AD-9D32-CCCB76687B3B}" type="presOf" srcId="{AE84EAD8-30C3-4889-8335-413788D244A0}" destId="{96FBC57E-884D-484F-B33A-37090EEDE2BD}" srcOrd="0" destOrd="0" presId="urn:microsoft.com/office/officeart/2005/8/layout/default"/>
    <dgm:cxn modelId="{CB6E69A2-ADD4-481E-A8EC-7547DE91DEA1}" srcId="{4218F158-FF94-492D-B2D9-E29662A1518B}" destId="{AE84EAD8-30C3-4889-8335-413788D244A0}" srcOrd="2" destOrd="0" parTransId="{336AB1B0-FE6A-4199-9C6A-AEF9837C0A75}" sibTransId="{62978F6B-8552-4A09-A88D-8794654EFA5F}"/>
    <dgm:cxn modelId="{98D945A9-1EAF-4569-9927-FDEB2E1ECC25}" srcId="{4218F158-FF94-492D-B2D9-E29662A1518B}" destId="{C51A28CB-D450-424C-B3D9-7EB86AB385A3}" srcOrd="0" destOrd="0" parTransId="{E56A8192-6CC5-409D-9E14-F4810E1F2DDC}" sibTransId="{4D686BD0-A074-4D24-A0AB-80D2409CCBA1}"/>
    <dgm:cxn modelId="{794CB9AC-CD96-4262-8C33-71E56C35D90E}" srcId="{4218F158-FF94-492D-B2D9-E29662A1518B}" destId="{F36E2AFD-0EF4-4293-B449-7C041170790D}" srcOrd="3" destOrd="0" parTransId="{0B30E83A-6D7F-4856-9DD5-5BEEEC1D638B}" sibTransId="{BD8382B1-7BBA-4252-908A-FEB1A1B4E2E6}"/>
    <dgm:cxn modelId="{184988B9-AC8E-4F57-934C-DF038107F5F0}" type="presOf" srcId="{837DECBE-9690-447F-B38E-BACE3014BFDD}" destId="{96649414-E77B-442F-99B9-4AE8B4532AB5}" srcOrd="0" destOrd="0" presId="urn:microsoft.com/office/officeart/2005/8/layout/default"/>
    <dgm:cxn modelId="{556936BE-6093-4060-8897-0E8BA5C3E0BC}" type="presOf" srcId="{4218F158-FF94-492D-B2D9-E29662A1518B}" destId="{866384CE-E638-4C2F-AF0B-179FD5CFD704}" srcOrd="0" destOrd="0" presId="urn:microsoft.com/office/officeart/2005/8/layout/default"/>
    <dgm:cxn modelId="{75BAF8C1-EA66-4912-823F-B01726B98FB8}" srcId="{4218F158-FF94-492D-B2D9-E29662A1518B}" destId="{8443C416-B7FC-4999-94C3-45A0DC07C84F}" srcOrd="1" destOrd="0" parTransId="{F97099BC-A706-467C-B5F4-1FAD6D3674B2}" sibTransId="{E45E8191-E45B-48E2-8F1F-2E8C71829AFF}"/>
    <dgm:cxn modelId="{90DFBCDB-A061-4410-851C-0E33EE0A3891}" type="presOf" srcId="{C51A28CB-D450-424C-B3D9-7EB86AB385A3}" destId="{555AA05C-4595-467D-8D8E-B81B2B6EAD5B}" srcOrd="0" destOrd="0" presId="urn:microsoft.com/office/officeart/2005/8/layout/default"/>
    <dgm:cxn modelId="{942CFBEC-CF29-4D2F-A024-8053187978EC}" type="presOf" srcId="{F36E2AFD-0EF4-4293-B449-7C041170790D}" destId="{AD5D5BBD-F6D2-44DA-AA25-A6CD58B0E801}" srcOrd="0" destOrd="0" presId="urn:microsoft.com/office/officeart/2005/8/layout/default"/>
    <dgm:cxn modelId="{C491A5A8-FFB9-414B-96B1-687689C6AEE2}" type="presParOf" srcId="{866384CE-E638-4C2F-AF0B-179FD5CFD704}" destId="{555AA05C-4595-467D-8D8E-B81B2B6EAD5B}" srcOrd="0" destOrd="0" presId="urn:microsoft.com/office/officeart/2005/8/layout/default"/>
    <dgm:cxn modelId="{09A9D31B-8280-460F-AC74-888BA77CB14E}" type="presParOf" srcId="{866384CE-E638-4C2F-AF0B-179FD5CFD704}" destId="{98EE25F5-83A3-4395-8287-ADEE968BA24B}" srcOrd="1" destOrd="0" presId="urn:microsoft.com/office/officeart/2005/8/layout/default"/>
    <dgm:cxn modelId="{D3626153-6050-42AC-8A8F-4D7B584B64BF}" type="presParOf" srcId="{866384CE-E638-4C2F-AF0B-179FD5CFD704}" destId="{45705608-65CB-42F6-9B91-73D7B8BCBE17}" srcOrd="2" destOrd="0" presId="urn:microsoft.com/office/officeart/2005/8/layout/default"/>
    <dgm:cxn modelId="{1CA812CB-233E-40F8-B5EC-A14397C409B3}" type="presParOf" srcId="{866384CE-E638-4C2F-AF0B-179FD5CFD704}" destId="{0FE52818-01CB-4B66-8710-99EC3F3B7439}" srcOrd="3" destOrd="0" presId="urn:microsoft.com/office/officeart/2005/8/layout/default"/>
    <dgm:cxn modelId="{7CF4DF93-7F9D-44E2-A08A-3D62E5B7433D}" type="presParOf" srcId="{866384CE-E638-4C2F-AF0B-179FD5CFD704}" destId="{96FBC57E-884D-484F-B33A-37090EEDE2BD}" srcOrd="4" destOrd="0" presId="urn:microsoft.com/office/officeart/2005/8/layout/default"/>
    <dgm:cxn modelId="{477D8A7E-85A8-40EC-BE1B-79B40C3639FA}" type="presParOf" srcId="{866384CE-E638-4C2F-AF0B-179FD5CFD704}" destId="{03F78526-4772-489E-9E55-7D9C45266EC7}" srcOrd="5" destOrd="0" presId="urn:microsoft.com/office/officeart/2005/8/layout/default"/>
    <dgm:cxn modelId="{0F3C0D51-1243-4839-AD16-3FA8E71198FA}" type="presParOf" srcId="{866384CE-E638-4C2F-AF0B-179FD5CFD704}" destId="{AD5D5BBD-F6D2-44DA-AA25-A6CD58B0E801}" srcOrd="6" destOrd="0" presId="urn:microsoft.com/office/officeart/2005/8/layout/default"/>
    <dgm:cxn modelId="{C60AC346-A36B-4C2B-8920-B0220FE36158}" type="presParOf" srcId="{866384CE-E638-4C2F-AF0B-179FD5CFD704}" destId="{9C304E55-78A8-47D2-8C25-32892F930FBB}" srcOrd="7" destOrd="0" presId="urn:microsoft.com/office/officeart/2005/8/layout/default"/>
    <dgm:cxn modelId="{21321D6D-7B4F-4F24-808B-0CC5F2A2DC34}" type="presParOf" srcId="{866384CE-E638-4C2F-AF0B-179FD5CFD704}" destId="{689E75F8-CE1F-4216-85DE-28C06A12E0C9}" srcOrd="8" destOrd="0" presId="urn:microsoft.com/office/officeart/2005/8/layout/default"/>
    <dgm:cxn modelId="{0B6F3BBC-F717-4414-9162-FBB5B493907F}" type="presParOf" srcId="{866384CE-E638-4C2F-AF0B-179FD5CFD704}" destId="{CCFA8897-8E82-4AFA-ADEA-E46E743E3801}" srcOrd="9" destOrd="0" presId="urn:microsoft.com/office/officeart/2005/8/layout/default"/>
    <dgm:cxn modelId="{09DA4BC2-782D-4697-B7A4-8A11DCFB8D3F}" type="presParOf" srcId="{866384CE-E638-4C2F-AF0B-179FD5CFD704}" destId="{96649414-E77B-442F-99B9-4AE8B4532AB5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D043B88-532F-455D-A1DD-A6D4D6CD727C}">
      <dsp:nvSpPr>
        <dsp:cNvPr id="0" name=""/>
        <dsp:cNvSpPr/>
      </dsp:nvSpPr>
      <dsp:spPr>
        <a:xfrm>
          <a:off x="0" y="767984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>
              <a:solidFill>
                <a:schemeClr val="accent1"/>
              </a:solidFill>
            </a:rPr>
            <a:t>ILPQC Updates</a:t>
          </a:r>
          <a:endParaRPr lang="en-US" sz="2700" kern="1200">
            <a:solidFill>
              <a:schemeClr val="accent1"/>
            </a:solidFill>
          </a:endParaRPr>
        </a:p>
      </dsp:txBody>
      <dsp:txXfrm>
        <a:off x="31613" y="799597"/>
        <a:ext cx="7218123" cy="584369"/>
      </dsp:txXfrm>
    </dsp:sp>
    <dsp:sp modelId="{CF8A7B59-2420-48FA-A336-38390FC91955}">
      <dsp:nvSpPr>
        <dsp:cNvPr id="0" name=""/>
        <dsp:cNvSpPr/>
      </dsp:nvSpPr>
      <dsp:spPr>
        <a:xfrm>
          <a:off x="0" y="1493339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-1826567"/>
                <a:satOff val="-10419"/>
                <a:lumOff val="-423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1826567"/>
                <a:satOff val="-10419"/>
                <a:lumOff val="-423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1826567"/>
                <a:satOff val="-10419"/>
                <a:lumOff val="-423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>
              <a:solidFill>
                <a:schemeClr val="accent1"/>
              </a:solidFill>
            </a:rPr>
            <a:t>BE Data Review</a:t>
          </a:r>
          <a:r>
            <a:rPr lang="en-US" sz="2700" kern="1200">
              <a:solidFill>
                <a:schemeClr val="accent1"/>
              </a:solidFill>
              <a:latin typeface="Calibri" panose="020F0502020204030204"/>
            </a:rPr>
            <a:t> (Key Strategies &amp; PREM Survey)</a:t>
          </a:r>
          <a:endParaRPr lang="en-US" sz="2700" kern="1200">
            <a:solidFill>
              <a:schemeClr val="accent1"/>
            </a:solidFill>
          </a:endParaRPr>
        </a:p>
      </dsp:txBody>
      <dsp:txXfrm>
        <a:off x="31613" y="1524952"/>
        <a:ext cx="7218123" cy="584369"/>
      </dsp:txXfrm>
    </dsp:sp>
    <dsp:sp modelId="{33396235-34F9-4080-8888-28FC6E0B7033}">
      <dsp:nvSpPr>
        <dsp:cNvPr id="0" name=""/>
        <dsp:cNvSpPr/>
      </dsp:nvSpPr>
      <dsp:spPr>
        <a:xfrm>
          <a:off x="0" y="2218694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-3653135"/>
                <a:satOff val="-20838"/>
                <a:lumOff val="-847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3653135"/>
                <a:satOff val="-20838"/>
                <a:lumOff val="-847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3653135"/>
                <a:satOff val="-20838"/>
                <a:lumOff val="-847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>
              <a:solidFill>
                <a:schemeClr val="accent1"/>
              </a:solidFill>
              <a:latin typeface="Calibri" panose="020F0502020204030204"/>
            </a:rPr>
            <a:t>Key Takeaways from F2F</a:t>
          </a:r>
        </a:p>
      </dsp:txBody>
      <dsp:txXfrm>
        <a:off x="31613" y="2250307"/>
        <a:ext cx="7218123" cy="584369"/>
      </dsp:txXfrm>
    </dsp:sp>
    <dsp:sp modelId="{54911B0A-133C-4EB5-B7A4-C901FDAFF025}">
      <dsp:nvSpPr>
        <dsp:cNvPr id="0" name=""/>
        <dsp:cNvSpPr/>
      </dsp:nvSpPr>
      <dsp:spPr>
        <a:xfrm>
          <a:off x="0" y="2944049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-5479702"/>
                <a:satOff val="-31257"/>
                <a:lumOff val="-1270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5479702"/>
                <a:satOff val="-31257"/>
                <a:lumOff val="-1270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5479702"/>
                <a:satOff val="-31257"/>
                <a:lumOff val="-1270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solidFill>
                <a:schemeClr val="accent1"/>
              </a:solidFill>
              <a:latin typeface="Calibri" panose="020F0502020204030204"/>
            </a:rPr>
            <a:t>Getting to Green on Key Strategies</a:t>
          </a:r>
          <a:endParaRPr lang="en-US" sz="2700" kern="1200">
            <a:solidFill>
              <a:schemeClr val="accent1"/>
            </a:solidFill>
          </a:endParaRPr>
        </a:p>
      </dsp:txBody>
      <dsp:txXfrm>
        <a:off x="31613" y="2975662"/>
        <a:ext cx="7218123" cy="584369"/>
      </dsp:txXfrm>
    </dsp:sp>
    <dsp:sp modelId="{C57065FD-1E1E-49C9-89EE-498333CE3675}">
      <dsp:nvSpPr>
        <dsp:cNvPr id="0" name=""/>
        <dsp:cNvSpPr/>
      </dsp:nvSpPr>
      <dsp:spPr>
        <a:xfrm>
          <a:off x="0" y="3669404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-7306269"/>
                <a:satOff val="-41676"/>
                <a:lumOff val="-1694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7306269"/>
                <a:satOff val="-41676"/>
                <a:lumOff val="-1694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7306269"/>
                <a:satOff val="-41676"/>
                <a:lumOff val="-1694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>
              <a:solidFill>
                <a:schemeClr val="accent1"/>
              </a:solidFill>
            </a:rPr>
            <a:t>Respectful Care Breakfast Strategy</a:t>
          </a:r>
          <a:r>
            <a:rPr lang="en-US" sz="2700" b="0" i="0" kern="1200">
              <a:solidFill>
                <a:schemeClr val="accent1"/>
              </a:solidFill>
              <a:latin typeface="Calibri" panose="020F0502020204030204"/>
            </a:rPr>
            <a:t> – Team Update</a:t>
          </a:r>
        </a:p>
      </dsp:txBody>
      <dsp:txXfrm>
        <a:off x="31613" y="3701017"/>
        <a:ext cx="7218123" cy="584369"/>
      </dsp:txXfrm>
    </dsp:sp>
    <dsp:sp modelId="{1643AD65-70DC-4CDF-BC64-E36EFE81F523}">
      <dsp:nvSpPr>
        <dsp:cNvPr id="0" name=""/>
        <dsp:cNvSpPr/>
      </dsp:nvSpPr>
      <dsp:spPr>
        <a:xfrm>
          <a:off x="0" y="4394759"/>
          <a:ext cx="7281349" cy="647595"/>
        </a:xfrm>
        <a:prstGeom prst="roundRect">
          <a:avLst/>
        </a:prstGeom>
        <a:gradFill rotWithShape="0">
          <a:gsLst>
            <a:gs pos="0">
              <a:schemeClr val="accent5">
                <a:hueOff val="-9132837"/>
                <a:satOff val="-52095"/>
                <a:lumOff val="-2117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5">
                <a:hueOff val="-9132837"/>
                <a:satOff val="-52095"/>
                <a:lumOff val="-2117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5">
                <a:hueOff val="-9132837"/>
                <a:satOff val="-52095"/>
                <a:lumOff val="-2117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l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b="0" i="0" kern="1200">
              <a:solidFill>
                <a:schemeClr val="accent1"/>
              </a:solidFill>
              <a:latin typeface="Calibri" panose="020F0502020204030204"/>
            </a:rPr>
            <a:t>QI Summer Series</a:t>
          </a:r>
          <a:r>
            <a:rPr lang="en-US" sz="2700" kern="1200">
              <a:solidFill>
                <a:schemeClr val="accent1"/>
              </a:solidFill>
              <a:latin typeface="Calibri" panose="020F0502020204030204"/>
            </a:rPr>
            <a:t> Introduction</a:t>
          </a:r>
          <a:endParaRPr lang="en-US" sz="2700" kern="1200">
            <a:solidFill>
              <a:schemeClr val="accent1"/>
            </a:solidFill>
          </a:endParaRPr>
        </a:p>
      </dsp:txBody>
      <dsp:txXfrm>
        <a:off x="31613" y="4426372"/>
        <a:ext cx="7218123" cy="5843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0FE7E-4B5C-4F40-9201-4A83AFA7CC07}">
      <dsp:nvSpPr>
        <dsp:cNvPr id="0" name=""/>
        <dsp:cNvSpPr/>
      </dsp:nvSpPr>
      <dsp:spPr>
        <a:xfrm>
          <a:off x="0" y="2439"/>
          <a:ext cx="6301601" cy="123661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DF703C-A982-4C1A-91E0-20D12D16B246}">
      <dsp:nvSpPr>
        <dsp:cNvPr id="0" name=""/>
        <dsp:cNvSpPr/>
      </dsp:nvSpPr>
      <dsp:spPr>
        <a:xfrm>
          <a:off x="374076" y="280678"/>
          <a:ext cx="680139" cy="680139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0A37A64-54F8-4EE7-91BA-99E23F29094E}">
      <dsp:nvSpPr>
        <dsp:cNvPr id="0" name=""/>
        <dsp:cNvSpPr/>
      </dsp:nvSpPr>
      <dsp:spPr>
        <a:xfrm>
          <a:off x="1428292" y="2439"/>
          <a:ext cx="4873308" cy="123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875" tIns="130875" rIns="130875" bIns="130875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E: Social Determinants of Health Screening and Linkage to Resources</a:t>
          </a:r>
          <a:endParaRPr lang="en-US" sz="2200" kern="1200"/>
        </a:p>
      </dsp:txBody>
      <dsp:txXfrm>
        <a:off x="1428292" y="2439"/>
        <a:ext cx="4873308" cy="1236616"/>
      </dsp:txXfrm>
    </dsp:sp>
    <dsp:sp modelId="{DB681757-793F-42C8-BFE5-0661C895CA44}">
      <dsp:nvSpPr>
        <dsp:cNvPr id="0" name=""/>
        <dsp:cNvSpPr/>
      </dsp:nvSpPr>
      <dsp:spPr>
        <a:xfrm>
          <a:off x="0" y="1548210"/>
          <a:ext cx="6301601" cy="123661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CC8F26-0D91-4FD4-8828-C1487174FDF0}">
      <dsp:nvSpPr>
        <dsp:cNvPr id="0" name=""/>
        <dsp:cNvSpPr/>
      </dsp:nvSpPr>
      <dsp:spPr>
        <a:xfrm>
          <a:off x="374076" y="1826449"/>
          <a:ext cx="680139" cy="680139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05BD215-AD4A-43BA-9DD7-CAA61EBEA764}">
      <dsp:nvSpPr>
        <dsp:cNvPr id="0" name=""/>
        <dsp:cNvSpPr/>
      </dsp:nvSpPr>
      <dsp:spPr>
        <a:xfrm>
          <a:off x="1428292" y="1548210"/>
          <a:ext cx="4873308" cy="123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875" tIns="130875" rIns="130875" bIns="130875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E: Active Implementation of Respectful Care Practices and PREM Survey</a:t>
          </a:r>
          <a:endParaRPr lang="en-US" sz="2200" kern="1200"/>
        </a:p>
      </dsp:txBody>
      <dsp:txXfrm>
        <a:off x="1428292" y="1548210"/>
        <a:ext cx="4873308" cy="1236616"/>
      </dsp:txXfrm>
    </dsp:sp>
    <dsp:sp modelId="{9B089B0C-0CCB-4ABD-87D0-BB86CFD23BD4}">
      <dsp:nvSpPr>
        <dsp:cNvPr id="0" name=""/>
        <dsp:cNvSpPr/>
      </dsp:nvSpPr>
      <dsp:spPr>
        <a:xfrm>
          <a:off x="0" y="3093981"/>
          <a:ext cx="6301601" cy="123661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8B13561-1A5A-4248-AE36-DCF37F0249E7}">
      <dsp:nvSpPr>
        <dsp:cNvPr id="0" name=""/>
        <dsp:cNvSpPr/>
      </dsp:nvSpPr>
      <dsp:spPr>
        <a:xfrm>
          <a:off x="374076" y="3372220"/>
          <a:ext cx="680139" cy="680139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EBE522C-2D02-458A-AF99-54ABBD3B63A0}">
      <dsp:nvSpPr>
        <dsp:cNvPr id="0" name=""/>
        <dsp:cNvSpPr/>
      </dsp:nvSpPr>
      <dsp:spPr>
        <a:xfrm>
          <a:off x="1428292" y="3093981"/>
          <a:ext cx="4873308" cy="123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875" tIns="130875" rIns="130875" bIns="130875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E: Moving Patient and Community Engagement Forward at your Hospital</a:t>
          </a:r>
          <a:endParaRPr lang="en-US" sz="2200" kern="1200"/>
        </a:p>
      </dsp:txBody>
      <dsp:txXfrm>
        <a:off x="1428292" y="3093981"/>
        <a:ext cx="4873308" cy="1236616"/>
      </dsp:txXfrm>
    </dsp:sp>
    <dsp:sp modelId="{012F5EB5-6F47-4EB1-8446-CE48750F8B9B}">
      <dsp:nvSpPr>
        <dsp:cNvPr id="0" name=""/>
        <dsp:cNvSpPr/>
      </dsp:nvSpPr>
      <dsp:spPr>
        <a:xfrm>
          <a:off x="0" y="4639752"/>
          <a:ext cx="6301601" cy="1236616"/>
        </a:xfrm>
        <a:prstGeom prst="roundRect">
          <a:avLst>
            <a:gd name="adj" fmla="val 10000"/>
          </a:avLst>
        </a:prstGeom>
        <a:solidFill>
          <a:schemeClr val="bg1">
            <a:lumMod val="95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965DA4-1368-41DE-B9E6-5FF22B7F46E8}">
      <dsp:nvSpPr>
        <dsp:cNvPr id="0" name=""/>
        <dsp:cNvSpPr/>
      </dsp:nvSpPr>
      <dsp:spPr>
        <a:xfrm>
          <a:off x="374076" y="4917991"/>
          <a:ext cx="680139" cy="680139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7E4EE9-920C-4DC1-817C-FA90747AE190}">
      <dsp:nvSpPr>
        <dsp:cNvPr id="0" name=""/>
        <dsp:cNvSpPr/>
      </dsp:nvSpPr>
      <dsp:spPr>
        <a:xfrm>
          <a:off x="1428292" y="4639752"/>
          <a:ext cx="4873308" cy="12366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0875" tIns="130875" rIns="130875" bIns="130875" numCol="1" spcCol="1270" anchor="ctr" anchorCtr="0">
          <a:noAutofit/>
        </a:bodyPr>
        <a:lstStyle/>
        <a:p>
          <a:pPr marL="0" lvl="0" indent="0" algn="l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0" i="0" kern="1200"/>
            <a:t>BE/PVB: Stratify your NTSV Data and Actively Address Disparities</a:t>
          </a:r>
          <a:endParaRPr lang="en-US" sz="2200" kern="1200"/>
        </a:p>
      </dsp:txBody>
      <dsp:txXfrm>
        <a:off x="1428292" y="4639752"/>
        <a:ext cx="4873308" cy="1236616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07D3D0-587C-44BF-841E-722838BA095A}">
      <dsp:nvSpPr>
        <dsp:cNvPr id="0" name=""/>
        <dsp:cNvSpPr/>
      </dsp:nvSpPr>
      <dsp:spPr>
        <a:xfrm>
          <a:off x="5731779" y="1646672"/>
          <a:ext cx="1584287" cy="75397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13813"/>
              </a:lnTo>
              <a:lnTo>
                <a:pt x="1584287" y="513813"/>
              </a:lnTo>
              <a:lnTo>
                <a:pt x="1584287" y="753976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108FA7A-D296-4AA2-834A-8D4714FD2091}">
      <dsp:nvSpPr>
        <dsp:cNvPr id="0" name=""/>
        <dsp:cNvSpPr/>
      </dsp:nvSpPr>
      <dsp:spPr>
        <a:xfrm>
          <a:off x="4147492" y="1646672"/>
          <a:ext cx="1584287" cy="753976"/>
        </a:xfrm>
        <a:custGeom>
          <a:avLst/>
          <a:gdLst/>
          <a:ahLst/>
          <a:cxnLst/>
          <a:rect l="0" t="0" r="0" b="0"/>
          <a:pathLst>
            <a:path>
              <a:moveTo>
                <a:pt x="1584287" y="0"/>
              </a:moveTo>
              <a:lnTo>
                <a:pt x="1584287" y="513813"/>
              </a:lnTo>
              <a:lnTo>
                <a:pt x="0" y="513813"/>
              </a:lnTo>
              <a:lnTo>
                <a:pt x="0" y="753976"/>
              </a:lnTo>
            </a:path>
          </a:pathLst>
        </a:custGeom>
        <a:noFill/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EC83BB-3E96-4F4F-900E-AB4F1F4551CF}">
      <dsp:nvSpPr>
        <dsp:cNvPr id="0" name=""/>
        <dsp:cNvSpPr/>
      </dsp:nvSpPr>
      <dsp:spPr>
        <a:xfrm>
          <a:off x="1266970" y="454"/>
          <a:ext cx="2592469" cy="1646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4C9B54D-CDD1-4D45-B8A5-D79DD9EDFF3C}">
      <dsp:nvSpPr>
        <dsp:cNvPr id="0" name=""/>
        <dsp:cNvSpPr/>
      </dsp:nvSpPr>
      <dsp:spPr>
        <a:xfrm>
          <a:off x="1555022" y="274104"/>
          <a:ext cx="2592469" cy="16462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ILPQC's 2-year contract with Diversity Science will end on July 15th, </a:t>
          </a:r>
          <a:r>
            <a:rPr lang="en-US" sz="1500" b="1" kern="1200" dirty="0">
              <a:latin typeface="Calibri" panose="020F0502020204030204"/>
            </a:rPr>
            <a:t>2023 - </a:t>
          </a:r>
          <a:r>
            <a:rPr lang="en-US" sz="1500" kern="1200" dirty="0">
              <a:latin typeface="Calibri" panose="020F0502020204030204"/>
            </a:rPr>
            <a:t>Diversity Science has converted to a fee-based product for out of state users</a:t>
          </a:r>
          <a:endParaRPr lang="en-US" sz="1500" kern="1200" dirty="0"/>
        </a:p>
      </dsp:txBody>
      <dsp:txXfrm>
        <a:off x="1603238" y="322320"/>
        <a:ext cx="2496037" cy="1549786"/>
      </dsp:txXfrm>
    </dsp:sp>
    <dsp:sp modelId="{264803B5-5E60-4D81-8A3C-1A74B7DCD62F}">
      <dsp:nvSpPr>
        <dsp:cNvPr id="0" name=""/>
        <dsp:cNvSpPr/>
      </dsp:nvSpPr>
      <dsp:spPr>
        <a:xfrm>
          <a:off x="4435544" y="454"/>
          <a:ext cx="2592469" cy="1646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60E629A-211C-412A-ADB4-74612C7B78BC}">
      <dsp:nvSpPr>
        <dsp:cNvPr id="0" name=""/>
        <dsp:cNvSpPr/>
      </dsp:nvSpPr>
      <dsp:spPr>
        <a:xfrm>
          <a:off x="4723597" y="274104"/>
          <a:ext cx="2592469" cy="16462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All hospitals who have integrated the Dignity in Pregnancy and Childbirth Course into their hospital LMS will lose access on July 15th</a:t>
          </a:r>
        </a:p>
      </dsp:txBody>
      <dsp:txXfrm>
        <a:off x="4771813" y="322320"/>
        <a:ext cx="2496037" cy="1549786"/>
      </dsp:txXfrm>
    </dsp:sp>
    <dsp:sp modelId="{37E063B0-DF3F-4A87-8624-9A26AEE56361}">
      <dsp:nvSpPr>
        <dsp:cNvPr id="0" name=""/>
        <dsp:cNvSpPr/>
      </dsp:nvSpPr>
      <dsp:spPr>
        <a:xfrm>
          <a:off x="2851257" y="2400649"/>
          <a:ext cx="2592469" cy="164621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EF0D5B7-B017-4578-9E5F-EE3F09DB955B}">
      <dsp:nvSpPr>
        <dsp:cNvPr id="0" name=""/>
        <dsp:cNvSpPr/>
      </dsp:nvSpPr>
      <dsp:spPr>
        <a:xfrm>
          <a:off x="3139310" y="2674299"/>
          <a:ext cx="2592469" cy="16462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Arial"/>
              <a:cs typeface="Arial"/>
            </a:rPr>
            <a:t>Individual access will remain free for now (fee in the future)</a:t>
          </a:r>
        </a:p>
      </dsp:txBody>
      <dsp:txXfrm>
        <a:off x="3187526" y="2722515"/>
        <a:ext cx="2496037" cy="1549786"/>
      </dsp:txXfrm>
    </dsp:sp>
    <dsp:sp modelId="{5BC9FCB3-0E05-4CBE-9374-6891165CB08C}">
      <dsp:nvSpPr>
        <dsp:cNvPr id="0" name=""/>
        <dsp:cNvSpPr/>
      </dsp:nvSpPr>
      <dsp:spPr>
        <a:xfrm>
          <a:off x="6019832" y="2400649"/>
          <a:ext cx="2592469" cy="1646218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24BA5D3-E865-4C3C-89C1-79F4012E9CF1}">
      <dsp:nvSpPr>
        <dsp:cNvPr id="0" name=""/>
        <dsp:cNvSpPr/>
      </dsp:nvSpPr>
      <dsp:spPr>
        <a:xfrm>
          <a:off x="6307884" y="2674299"/>
          <a:ext cx="2592469" cy="16462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>
              <a:latin typeface="Arial"/>
              <a:cs typeface="Arial"/>
            </a:rPr>
            <a:t>Diversity Science anticipates a free refresher course in the future</a:t>
          </a:r>
          <a:endParaRPr lang="en-US" sz="1500" kern="1200" dirty="0"/>
        </a:p>
      </dsp:txBody>
      <dsp:txXfrm>
        <a:off x="6356100" y="2722515"/>
        <a:ext cx="2496037" cy="1549786"/>
      </dsp:txXfrm>
    </dsp:sp>
    <dsp:sp modelId="{DF85B913-1AAD-4409-979B-3C4A1B55BA28}">
      <dsp:nvSpPr>
        <dsp:cNvPr id="0" name=""/>
        <dsp:cNvSpPr/>
      </dsp:nvSpPr>
      <dsp:spPr>
        <a:xfrm>
          <a:off x="7604119" y="454"/>
          <a:ext cx="2592469" cy="164621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4BA75C8-94D1-4F5D-864F-D3104147E393}">
      <dsp:nvSpPr>
        <dsp:cNvPr id="0" name=""/>
        <dsp:cNvSpPr/>
      </dsp:nvSpPr>
      <dsp:spPr>
        <a:xfrm>
          <a:off x="7892171" y="274104"/>
          <a:ext cx="2592469" cy="1646218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 dirty="0"/>
            <a:t>Hospitals can work with Diversity Science to purchase a license to extend LMS access</a:t>
          </a:r>
          <a:r>
            <a:rPr lang="en-US" sz="1500" kern="1200" dirty="0">
              <a:latin typeface="Calibri" panose="020F0502020204030204"/>
            </a:rPr>
            <a:t> to the course</a:t>
          </a:r>
        </a:p>
      </dsp:txBody>
      <dsp:txXfrm>
        <a:off x="7940387" y="322320"/>
        <a:ext cx="2496037" cy="15497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5AA05C-4595-467D-8D8E-B81B2B6EAD5B}">
      <dsp:nvSpPr>
        <dsp:cNvPr id="0" name=""/>
        <dsp:cNvSpPr/>
      </dsp:nvSpPr>
      <dsp:spPr>
        <a:xfrm>
          <a:off x="930572" y="3032"/>
          <a:ext cx="2833338" cy="170000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 dirty="0"/>
            <a:t>Think Cultural Health – CLAS online E-module</a:t>
          </a:r>
        </a:p>
      </dsp:txBody>
      <dsp:txXfrm>
        <a:off x="930572" y="3032"/>
        <a:ext cx="2833338" cy="1700003"/>
      </dsp:txXfrm>
    </dsp:sp>
    <dsp:sp modelId="{45705608-65CB-42F6-9B91-73D7B8BCBE17}">
      <dsp:nvSpPr>
        <dsp:cNvPr id="0" name=""/>
        <dsp:cNvSpPr/>
      </dsp:nvSpPr>
      <dsp:spPr>
        <a:xfrm>
          <a:off x="4047245" y="3032"/>
          <a:ext cx="2833338" cy="1700003"/>
        </a:xfrm>
        <a:prstGeom prst="rect">
          <a:avLst/>
        </a:prstGeom>
        <a:solidFill>
          <a:schemeClr val="accent2">
            <a:hueOff val="-3967549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(In)equity Inbox tool to facilitate feedback and discussion</a:t>
          </a:r>
        </a:p>
      </dsp:txBody>
      <dsp:txXfrm>
        <a:off x="4047245" y="3032"/>
        <a:ext cx="2833338" cy="1700003"/>
      </dsp:txXfrm>
    </dsp:sp>
    <dsp:sp modelId="{96FBC57E-884D-484F-B33A-37090EEDE2BD}">
      <dsp:nvSpPr>
        <dsp:cNvPr id="0" name=""/>
        <dsp:cNvSpPr/>
      </dsp:nvSpPr>
      <dsp:spPr>
        <a:xfrm>
          <a:off x="7163917" y="3032"/>
          <a:ext cx="2833338" cy="1700003"/>
        </a:xfrm>
        <a:prstGeom prst="rect">
          <a:avLst/>
        </a:prstGeom>
        <a:solidFill>
          <a:schemeClr val="accent2">
            <a:hueOff val="-7935098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PQI SPEAK UP Training</a:t>
          </a:r>
        </a:p>
      </dsp:txBody>
      <dsp:txXfrm>
        <a:off x="7163917" y="3032"/>
        <a:ext cx="2833338" cy="1700003"/>
      </dsp:txXfrm>
    </dsp:sp>
    <dsp:sp modelId="{AD5D5BBD-F6D2-44DA-AA25-A6CD58B0E801}">
      <dsp:nvSpPr>
        <dsp:cNvPr id="0" name=""/>
        <dsp:cNvSpPr/>
      </dsp:nvSpPr>
      <dsp:spPr>
        <a:xfrm>
          <a:off x="930572" y="1986369"/>
          <a:ext cx="2833338" cy="1700003"/>
        </a:xfrm>
        <a:prstGeom prst="rect">
          <a:avLst/>
        </a:prstGeom>
        <a:solidFill>
          <a:schemeClr val="accent2">
            <a:hueOff val="-1190264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CDC Hear Her Campaign</a:t>
          </a:r>
        </a:p>
      </dsp:txBody>
      <dsp:txXfrm>
        <a:off x="930572" y="1986369"/>
        <a:ext cx="2833338" cy="1700003"/>
      </dsp:txXfrm>
    </dsp:sp>
    <dsp:sp modelId="{689E75F8-CE1F-4216-85DE-28C06A12E0C9}">
      <dsp:nvSpPr>
        <dsp:cNvPr id="0" name=""/>
        <dsp:cNvSpPr/>
      </dsp:nvSpPr>
      <dsp:spPr>
        <a:xfrm>
          <a:off x="4047245" y="1986369"/>
          <a:ext cx="2833338" cy="1700003"/>
        </a:xfrm>
        <a:prstGeom prst="rect">
          <a:avLst/>
        </a:prstGeom>
        <a:solidFill>
          <a:schemeClr val="accent2">
            <a:hueOff val="-15870196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Harvard Project Implicit Association Test</a:t>
          </a:r>
        </a:p>
      </dsp:txBody>
      <dsp:txXfrm>
        <a:off x="4047245" y="1986369"/>
        <a:ext cx="2833338" cy="1700003"/>
      </dsp:txXfrm>
    </dsp:sp>
    <dsp:sp modelId="{96649414-E77B-442F-99B9-4AE8B4532AB5}">
      <dsp:nvSpPr>
        <dsp:cNvPr id="0" name=""/>
        <dsp:cNvSpPr/>
      </dsp:nvSpPr>
      <dsp:spPr>
        <a:xfrm>
          <a:off x="7163917" y="1986369"/>
          <a:ext cx="2833338" cy="1700003"/>
        </a:xfrm>
        <a:prstGeom prst="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95250" rIns="95250" bIns="95250" numCol="1" spcCol="1270" anchor="ctr" anchorCtr="0">
          <a:noAutofit/>
        </a:bodyPr>
        <a:lstStyle/>
        <a:p>
          <a:pPr marL="0" lvl="0" indent="0" algn="ctr" defTabSz="11112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defRPr cap="all"/>
          </a:pPr>
          <a:r>
            <a:rPr lang="en-US" sz="2500" kern="1200"/>
            <a:t>Addressing Diversity within Healthcare Hiring</a:t>
          </a:r>
          <a:r>
            <a:rPr lang="en-US" sz="2500" kern="1200">
              <a:latin typeface="Calibri" panose="020F0502020204030204"/>
            </a:rPr>
            <a:t> Tools</a:t>
          </a:r>
          <a:endParaRPr lang="en-US" sz="2500" kern="1200"/>
        </a:p>
      </dsp:txBody>
      <dsp:txXfrm>
        <a:off x="7163917" y="1986369"/>
        <a:ext cx="2833338" cy="17000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A5E448-234B-4AB8-933E-40DECDB67BC0}" type="datetimeFigureOut">
              <a:t>6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25C9F0-2C80-47DF-A05F-1C371CC7B2F0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7993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5C9F0-2C80-47DF-A05F-1C371CC7B2F0}" type="slidenum">
              <a:rPr lang="en-US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3753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</a:pPr>
            <a:endParaRPr lang="en-US" dirty="0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4382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</a:pPr>
            <a:endParaRPr lang="en-US">
              <a:cs typeface="Calibri"/>
            </a:endParaRPr>
          </a:p>
          <a:p>
            <a:pPr>
              <a:spcBef>
                <a:spcPts val="1000"/>
              </a:spcBef>
              <a:spcAft>
                <a:spcPts val="1000"/>
              </a:spcAft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9046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</a:pPr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2855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</a:pPr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709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 think she has pics of the actual folks who came?  We should note that they had their doulas invite patients…also I think she had a pic of the invitation? Can you ask her for those additional pics if she didn’t send th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5C9F0-2C80-47DF-A05F-1C371CC7B2F0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85756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25C9F0-2C80-47DF-A05F-1C371CC7B2F0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46551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6540EB-5334-4296-967C-10B4D905E33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94283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71565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3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5C9F0-2C80-47DF-A05F-1C371CC7B2F0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8235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9" name="Google Shape;4089;p3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90" name="Google Shape;4090;p3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6" name="Google Shape;4286;p4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87" name="Google Shape;4287;p4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5" name="Google Shape;4205;p4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06" name="Google Shape;4206;p4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07" name="Google Shape;4207;p4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6540EB-5334-4296-967C-10B4D905E33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1294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691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72090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1000"/>
              </a:spcBef>
              <a:spcAft>
                <a:spcPts val="1000"/>
              </a:spcAft>
            </a:pPr>
            <a:endParaRPr lang="en-US">
              <a:cs typeface="Calibri" panose="020F050202020403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789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0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7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5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8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sv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4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Layouts/_rels/slideLayout4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8.bin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1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1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4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3.svg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1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sv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.svg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1.xml"/></Relationships>
</file>

<file path=ppt/slideLayouts/_rels/slideLayout4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12.svg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emf"/></Relationships>
</file>

<file path=ppt/slideLayouts/_rels/slideLayout4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emf"/></Relationships>
</file>

<file path=ppt/slideLayouts/_rels/slideLayout4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emf"/></Relationships>
</file>

<file path=ppt/slideLayouts/_rels/slideLayout4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12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12.xml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2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3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3.xml"/></Relationships>
</file>

<file path=ppt/slideLayouts/_rels/slideLayout4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6.pn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6.png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3.xml"/></Relationships>
</file>

<file path=ppt/slideLayouts/_rels/slideLayout45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6.png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45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6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46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56.png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3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4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4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4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5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2.svg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4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4.xml"/></Relationships>
</file>

<file path=ppt/slideLayouts/_rels/slideLayout5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/Relationships>
</file>

<file path=ppt/slideLayouts/_rels/slideLayout5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4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4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2.svg"/></Relationships>
</file>

<file path=ppt/slideLayouts/_rels/slideLayout5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5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4.xml"/></Relationships>
</file>

<file path=ppt/slideLayouts/_rels/slideLayout5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4.xml"/></Relationships>
</file>

<file path=ppt/slideLayouts/_rels/slideLayout5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12.svg"/></Relationships>
</file>

<file path=ppt/slideLayouts/_rels/slideLayout5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.svg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4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4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4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4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5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4.xml"/></Relationships>
</file>

<file path=ppt/slideLayouts/_rels/slideLayout5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4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4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5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5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4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4.svg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8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4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4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5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/Relationships>
</file>

<file path=ppt/slideLayouts/_rels/slideLayout6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5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6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6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2.svg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5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5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/Relationships>
</file>

<file path=ppt/slideLayouts/_rels/slideLayout7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5.xml"/></Relationships>
</file>

<file path=ppt/slideLayouts/_rels/slideLayout7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5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7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2.svg"/></Relationships>
</file>

<file path=ppt/slideLayouts/_rels/slideLayout7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5.xml"/></Relationships>
</file>

<file path=ppt/slideLayouts/_rels/slideLayout7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12.svg"/></Relationships>
</file>

<file path=ppt/slideLayouts/_rels/slideLayout7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3.svg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5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5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7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7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5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5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5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5.xml"/></Relationships>
</file>

<file path=ppt/slideLayouts/_rels/slideLayout7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5.xml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5.xml"/></Relationships>
</file>

<file path=ppt/slideLayouts/_rels/slideLayout7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.svg"/></Relationships>
</file>

<file path=ppt/slideLayouts/_rels/slideLayout7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7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5.xml"/></Relationships>
</file>

<file path=ppt/slideLayouts/_rels/slideLayout7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6.xml"/><Relationship Id="rId6" Type="http://schemas.openxmlformats.org/officeDocument/2006/relationships/image" Target="../media/image34.emf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Layouts/_rels/slideLayout7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38.jpe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2.emf"/><Relationship Id="rId4" Type="http://schemas.openxmlformats.org/officeDocument/2006/relationships/oleObject" Target="../embeddings/oleObject5.bin"/></Relationships>
</file>

<file path=ppt/slideLayouts/_rels/slideLayout7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5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19.xml"/></Relationships>
</file>

<file path=ppt/slideLayouts/_rels/slideLayout7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7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8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8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6.xml"/></Relationships>
</file>

<file path=ppt/slideLayouts/_rels/slideLayout8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8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6.xml"/></Relationships>
</file>

<file path=ppt/slideLayouts/_rels/slideLayout8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8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8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svg"/></Relationships>
</file>

<file path=ppt/slideLayouts/_rels/slideLayout8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8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8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8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8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6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6.xml"/></Relationships>
</file>

<file path=ppt/slideLayouts/_rels/slideLayout9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6.xml"/></Relationships>
</file>

<file path=ppt/slideLayouts/_rels/slideLayout9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6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6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6.xml"/></Relationships>
</file>

<file path=ppt/slideLayouts/_rels/slideLayout9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16.xml"/></Relationships>
</file>

<file path=ppt/slideLayouts/_rels/slideLayout9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9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9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9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6.xml"/></Relationships>
</file>

<file path=ppt/slideLayouts/_rels/slideLayout9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6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6.xml"/></Relationships>
</file>

<file path=ppt/slideLayouts/_rels/slideLayout9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6.xml"/></Relationships>
</file>

<file path=ppt/slideLayouts/_rels/slideLayout9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6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/Relationships>
</file>

<file path=ppt/slideLayouts/_rels/slideLayout9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6.xml"/></Relationships>
</file>

<file path=ppt/slideLayouts/_rels/slideLayout9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6.xml"/></Relationships>
</file>

<file path=ppt/slideLayouts/_rels/slideLayout9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6.xml"/></Relationships>
</file>

<file path=ppt/slideLayouts/_rels/slideLayout9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6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6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6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6.xml"/></Relationships>
</file>

<file path=ppt/slideLayouts/_rels/slideLayout9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6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6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6.xml"/></Relationships>
</file>

<file path=ppt/slideLayouts/_rels/slideLayout9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6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16.xml"/></Relationships>
</file>

<file path=ppt/slideLayouts/_rels/slideLayout9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16.xml"/></Relationships>
</file>

<file path=ppt/slideLayouts/_rels/slideLayout9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6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9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6.xml"/></Relationships>
</file>

<file path=ppt/slideLayouts/_rels/slideLayout9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6.xml"/></Relationships>
</file>

<file path=ppt/slideLayouts/_rels/slideLayout9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6.xml"/></Relationships>
</file>

<file path=ppt/slideLayouts/_rels/slideLayout9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9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6.xml"/></Relationships>
</file>

<file path=ppt/slideLayouts/_rels/slideLayout9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9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6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6.xml"/></Relationships>
</file>

<file path=ppt/slideLayouts/_rels/slideLayout9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Google Shape;51;p13"/>
          <p:cNvGrpSpPr/>
          <p:nvPr/>
        </p:nvGrpSpPr>
        <p:grpSpPr>
          <a:xfrm>
            <a:off x="7191203" y="2"/>
            <a:ext cx="5000223" cy="1425925"/>
            <a:chOff x="7191203" y="1"/>
            <a:chExt cx="5000223" cy="1425925"/>
          </a:xfrm>
        </p:grpSpPr>
        <p:pic>
          <p:nvPicPr>
            <p:cNvPr id="52" name="Google Shape;52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6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" name="Google Shape;53;p13"/>
            <p:cNvGrpSpPr/>
            <p:nvPr/>
          </p:nvGrpSpPr>
          <p:grpSpPr>
            <a:xfrm>
              <a:off x="7191203" y="1"/>
              <a:ext cx="5000223" cy="1425925"/>
              <a:chOff x="7186272" y="0"/>
              <a:chExt cx="5005729" cy="1427495"/>
            </a:xfrm>
          </p:grpSpPr>
          <p:sp>
            <p:nvSpPr>
              <p:cNvPr id="54" name="Google Shape;54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" name="Google Shape;55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68575" tIns="34275" rIns="68575" bIns="342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67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" name="Google Shape;56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1pPr>
            <a:lvl2pPr marL="1219170" lvl="1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l" rtl="0">
              <a:lnSpc>
                <a:spcPct val="100000"/>
              </a:lnSpc>
              <a:spcBef>
                <a:spcPts val="1067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/>
            </a:lvl6pPr>
            <a:lvl7pPr marL="4267093" lvl="6" indent="-423323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/>
            </a:lvl7pPr>
            <a:lvl8pPr marL="4876678" lvl="7" indent="-423323" algn="l" rtl="0">
              <a:lnSpc>
                <a:spcPct val="90000"/>
              </a:lnSpc>
              <a:spcBef>
                <a:spcPts val="160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/>
            </a:lvl8pPr>
            <a:lvl9pPr marL="5486263" lvl="8" indent="-423323" algn="l" rtl="0">
              <a:lnSpc>
                <a:spcPct val="90000"/>
              </a:lnSpc>
              <a:spcBef>
                <a:spcPts val="1600"/>
              </a:spcBef>
              <a:spcAft>
                <a:spcPts val="1600"/>
              </a:spcAft>
              <a:buClr>
                <a:schemeClr val="dk1"/>
              </a:buClr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13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rmAutofit/>
          </a:bodyPr>
          <a:lstStyle>
            <a:lvl1pPr marL="0" lvl="0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 rtl="0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cxnSp>
        <p:nvCxnSpPr>
          <p:cNvPr id="59" name="Google Shape;59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" name="Google Shape;60;p13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583446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91645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48523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144568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5432252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4637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536273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7675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2331471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7343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081234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32522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47861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28415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49927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2862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29143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88768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5114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656193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309858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0525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1717" y="1373188"/>
            <a:ext cx="10972800" cy="796925"/>
          </a:xfrm>
        </p:spPr>
        <p:txBody>
          <a:bodyPr>
            <a:noAutofit/>
          </a:bodyPr>
          <a:lstStyle>
            <a:lvl1pPr>
              <a:defRPr sz="44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Today’s Agenda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/>
          </p:nvPr>
        </p:nvSpPr>
        <p:spPr>
          <a:xfrm>
            <a:off x="609600" y="2286000"/>
            <a:ext cx="10972800" cy="3657600"/>
          </a:xfrm>
        </p:spPr>
        <p:txBody>
          <a:bodyPr>
            <a:noAutofit/>
          </a:bodyPr>
          <a:lstStyle>
            <a:lvl1pPr marL="342891" indent="-342891">
              <a:buFont typeface="+mj-lt"/>
              <a:buAutoNum type="arabicPeriod"/>
              <a:defRPr sz="2800" baseline="0">
                <a:solidFill>
                  <a:schemeClr val="accent1"/>
                </a:solidFill>
              </a:defRPr>
            </a:lvl1pPr>
            <a:lvl2pPr marL="628635" indent="-284156">
              <a:buFont typeface="Arial" panose="020B0604020202020204" pitchFamily="34" charset="0"/>
              <a:buChar char="•"/>
              <a:defRPr sz="2800">
                <a:solidFill>
                  <a:schemeClr val="accent1"/>
                </a:solidFill>
              </a:defRPr>
            </a:lvl2pPr>
            <a:lvl3pPr marL="630920" indent="-283457">
              <a:buFont typeface="Arial" panose="020B0604020202020204" pitchFamily="34" charset="0"/>
              <a:buChar char="•"/>
              <a:defRPr sz="2800">
                <a:solidFill>
                  <a:schemeClr val="accent1"/>
                </a:solidFill>
              </a:defRPr>
            </a:lvl3pPr>
            <a:lvl4pPr marL="630920" indent="-283457">
              <a:buFont typeface="Arial" panose="020B0604020202020204" pitchFamily="34" charset="0"/>
              <a:buChar char="•"/>
              <a:defRPr sz="2800">
                <a:solidFill>
                  <a:srgbClr val="003CA5"/>
                </a:solidFill>
              </a:defRPr>
            </a:lvl4pPr>
            <a:lvl5pPr marL="630920" indent="-283457">
              <a:buFont typeface="Arial" panose="020B0604020202020204" pitchFamily="34" charset="0"/>
              <a:buChar char="•"/>
              <a:defRPr sz="2800">
                <a:solidFill>
                  <a:srgbClr val="003CA5"/>
                </a:solidFill>
              </a:defRPr>
            </a:lvl5pPr>
            <a:lvl6pPr marL="630920" indent="-283457">
              <a:buFont typeface="Arial" panose="020B0604020202020204" pitchFamily="34" charset="0"/>
              <a:buChar char="•"/>
              <a:defRPr sz="2800">
                <a:solidFill>
                  <a:schemeClr val="accent1"/>
                </a:solidFill>
              </a:defRPr>
            </a:lvl6pPr>
            <a:lvl7pPr marL="630920" indent="-283457">
              <a:buFont typeface="Arial" panose="020B0604020202020204" pitchFamily="34" charset="0"/>
              <a:buChar char="•"/>
              <a:defRPr sz="2800">
                <a:solidFill>
                  <a:srgbClr val="003CA5"/>
                </a:solidFill>
              </a:defRPr>
            </a:lvl7pPr>
            <a:lvl8pPr marL="630920" indent="-283457">
              <a:buFont typeface="Arial" panose="020B0604020202020204" pitchFamily="34" charset="0"/>
              <a:buChar char="•"/>
              <a:defRPr sz="2800">
                <a:solidFill>
                  <a:srgbClr val="003CA5"/>
                </a:solidFill>
              </a:defRPr>
            </a:lvl8pPr>
            <a:lvl9pPr marL="630920" indent="-283457">
              <a:buFont typeface="Arial" panose="020B0604020202020204" pitchFamily="34" charset="0"/>
              <a:buChar char="•"/>
              <a:defRPr sz="2800">
                <a:solidFill>
                  <a:srgbClr val="003CA5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en-US"/>
              <a:t>June 22,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E8BC936-0928-C346-B13E-04BD58031644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106" y="6272785"/>
            <a:ext cx="3590167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86397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C48C62-C3E0-4779-A1BA-3753C7A78F55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985201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B5682-C18A-4AF5-AEA0-0B3AF5998B83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001345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634E2-6322-45F9-AB7F-A21DD9FD0250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2209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C1BB8-79CB-4B31-B1C3-855E02C6D138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974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36E99-A762-4AC1-9EC6-54E59BEE8347}" type="datetime1">
              <a:rPr lang="en-US" smtClean="0"/>
              <a:t>6/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50255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89533-57F2-4967-ACCC-C9755C981E92}" type="datetime1">
              <a:rPr lang="en-US" smtClean="0"/>
              <a:t>6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72279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A0657-451F-4A1D-AB0B-E276FA4613B6}" type="datetime1">
              <a:rPr lang="en-US" smtClean="0"/>
              <a:t>6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01813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C3069-D129-4249-8867-1C9B5141F586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695456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2A74C-C2C7-4659-B356-7AC813AC23F7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15772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0B49B-2A9B-4B91-BF58-9ECCA201C17D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874318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F4994-C0BA-4140-8BBB-F7CD719B62CF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77369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Section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82505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94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2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0767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88700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94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39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0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6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15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696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23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77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31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19213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10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10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13209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4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9" indent="0">
              <a:buNone/>
              <a:defRPr sz="2667" b="1"/>
            </a:lvl2pPr>
            <a:lvl3pPr marL="1219078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4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4" y="2175943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9" indent="0">
              <a:buNone/>
              <a:defRPr sz="2667" b="1"/>
            </a:lvl2pPr>
            <a:lvl3pPr marL="1219078" indent="0">
              <a:buNone/>
              <a:defRPr sz="2400" b="1"/>
            </a:lvl3pPr>
            <a:lvl4pPr marL="1828618" indent="0">
              <a:buNone/>
              <a:defRPr sz="2133" b="1"/>
            </a:lvl4pPr>
            <a:lvl5pPr marL="2438158" indent="0">
              <a:buNone/>
              <a:defRPr sz="2133" b="1"/>
            </a:lvl5pPr>
            <a:lvl6pPr marL="3047696" indent="0">
              <a:buNone/>
              <a:defRPr sz="2133" b="1"/>
            </a:lvl6pPr>
            <a:lvl7pPr marL="3657234" indent="0">
              <a:buNone/>
              <a:defRPr sz="2133" b="1"/>
            </a:lvl7pPr>
            <a:lvl8pPr marL="4266773" indent="0">
              <a:buNone/>
              <a:defRPr sz="2133" b="1"/>
            </a:lvl8pPr>
            <a:lvl9pPr marL="4876313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5943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0436744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86808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1686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061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9" y="273061"/>
            <a:ext cx="6815668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39" indent="0">
              <a:buNone/>
              <a:defRPr sz="1600"/>
            </a:lvl2pPr>
            <a:lvl3pPr marL="1219078" indent="0">
              <a:buNone/>
              <a:defRPr sz="1333"/>
            </a:lvl3pPr>
            <a:lvl4pPr marL="1828618" indent="0">
              <a:buNone/>
              <a:defRPr sz="1200"/>
            </a:lvl4pPr>
            <a:lvl5pPr marL="2438158" indent="0">
              <a:buNone/>
              <a:defRPr sz="1200"/>
            </a:lvl5pPr>
            <a:lvl6pPr marL="3047696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3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75893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39" indent="0">
              <a:buNone/>
              <a:defRPr sz="3733"/>
            </a:lvl2pPr>
            <a:lvl3pPr marL="1219078" indent="0">
              <a:buNone/>
              <a:defRPr sz="3200"/>
            </a:lvl3pPr>
            <a:lvl4pPr marL="1828618" indent="0">
              <a:buNone/>
              <a:defRPr sz="2667"/>
            </a:lvl4pPr>
            <a:lvl5pPr marL="2438158" indent="0">
              <a:buNone/>
              <a:defRPr sz="2667"/>
            </a:lvl5pPr>
            <a:lvl6pPr marL="3047696" indent="0">
              <a:buNone/>
              <a:defRPr sz="2667"/>
            </a:lvl6pPr>
            <a:lvl7pPr marL="3657234" indent="0">
              <a:buNone/>
              <a:defRPr sz="2667"/>
            </a:lvl7pPr>
            <a:lvl8pPr marL="4266773" indent="0">
              <a:buNone/>
              <a:defRPr sz="2667"/>
            </a:lvl8pPr>
            <a:lvl9pPr marL="4876313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8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39" indent="0">
              <a:buNone/>
              <a:defRPr sz="1600"/>
            </a:lvl2pPr>
            <a:lvl3pPr marL="1219078" indent="0">
              <a:buNone/>
              <a:defRPr sz="1333"/>
            </a:lvl3pPr>
            <a:lvl4pPr marL="1828618" indent="0">
              <a:buNone/>
              <a:defRPr sz="1200"/>
            </a:lvl4pPr>
            <a:lvl5pPr marL="2438158" indent="0">
              <a:buNone/>
              <a:defRPr sz="1200"/>
            </a:lvl5pPr>
            <a:lvl6pPr marL="3047696" indent="0">
              <a:buNone/>
              <a:defRPr sz="1200"/>
            </a:lvl6pPr>
            <a:lvl7pPr marL="3657234" indent="0">
              <a:buNone/>
              <a:defRPr sz="1200"/>
            </a:lvl7pPr>
            <a:lvl8pPr marL="4266773" indent="0">
              <a:buNone/>
              <a:defRPr sz="1200"/>
            </a:lvl8pPr>
            <a:lvl9pPr marL="4876313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5879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857603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8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8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07716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147938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08146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54115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73959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40051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624705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76755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49784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6999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1880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928409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6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576B2D-D169-46FA-B648-666C613BA572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51425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2907F-D418-463E-BF10-B29A5629C6C3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3889512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6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EEA823-F18A-4EA1-A16F-13AE828506B1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95495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ABFB7-3C33-467E-859D-EAC9A7C3BB7F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99229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5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70" indent="0">
              <a:buNone/>
              <a:defRPr sz="2667" b="1"/>
            </a:lvl2pPr>
            <a:lvl3pPr marL="1219140" indent="0">
              <a:buNone/>
              <a:defRPr sz="2400" b="1"/>
            </a:lvl3pPr>
            <a:lvl4pPr marL="1828709" indent="0">
              <a:buNone/>
              <a:defRPr sz="2133" b="1"/>
            </a:lvl4pPr>
            <a:lvl5pPr marL="2438278" indent="0">
              <a:buNone/>
              <a:defRPr sz="2133" b="1"/>
            </a:lvl5pPr>
            <a:lvl6pPr marL="3047848" indent="0">
              <a:buNone/>
              <a:defRPr sz="2133" b="1"/>
            </a:lvl6pPr>
            <a:lvl7pPr marL="3657418" indent="0">
              <a:buNone/>
              <a:defRPr sz="2133" b="1"/>
            </a:lvl7pPr>
            <a:lvl8pPr marL="4266987" indent="0">
              <a:buNone/>
              <a:defRPr sz="2133" b="1"/>
            </a:lvl8pPr>
            <a:lvl9pPr marL="4876557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5935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39DC00-C61D-4415-8C06-298F52D546C5}" type="datetime1">
              <a:rPr lang="en-US" smtClean="0"/>
              <a:t>6/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13181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6D0774-9679-4615-8C45-0D898D4FC240}" type="datetime1">
              <a:rPr lang="en-US" smtClean="0"/>
              <a:t>6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83714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754C1-59A8-4AD3-A34E-EFDEB5BC5CFD}" type="datetime1">
              <a:rPr lang="en-US" smtClean="0"/>
              <a:t>6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195701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3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34B0F-650F-4E7C-93EA-63FE4206ADBB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585962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70" indent="0">
              <a:buNone/>
              <a:defRPr sz="3733"/>
            </a:lvl2pPr>
            <a:lvl3pPr marL="1219140" indent="0">
              <a:buNone/>
              <a:defRPr sz="3200"/>
            </a:lvl3pPr>
            <a:lvl4pPr marL="1828709" indent="0">
              <a:buNone/>
              <a:defRPr sz="2667"/>
            </a:lvl4pPr>
            <a:lvl5pPr marL="2438278" indent="0">
              <a:buNone/>
              <a:defRPr sz="2667"/>
            </a:lvl5pPr>
            <a:lvl6pPr marL="3047848" indent="0">
              <a:buNone/>
              <a:defRPr sz="2667"/>
            </a:lvl6pPr>
            <a:lvl7pPr marL="3657418" indent="0">
              <a:buNone/>
              <a:defRPr sz="2667"/>
            </a:lvl7pPr>
            <a:lvl8pPr marL="4266987" indent="0">
              <a:buNone/>
              <a:defRPr sz="2667"/>
            </a:lvl8pPr>
            <a:lvl9pPr marL="4876557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8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70" indent="0">
              <a:buNone/>
              <a:defRPr sz="1600"/>
            </a:lvl2pPr>
            <a:lvl3pPr marL="1219140" indent="0">
              <a:buNone/>
              <a:defRPr sz="1333"/>
            </a:lvl3pPr>
            <a:lvl4pPr marL="1828709" indent="0">
              <a:buNone/>
              <a:defRPr sz="1200"/>
            </a:lvl4pPr>
            <a:lvl5pPr marL="2438278" indent="0">
              <a:buNone/>
              <a:defRPr sz="1200"/>
            </a:lvl5pPr>
            <a:lvl6pPr marL="3047848" indent="0">
              <a:buNone/>
              <a:defRPr sz="1200"/>
            </a:lvl6pPr>
            <a:lvl7pPr marL="3657418" indent="0">
              <a:buNone/>
              <a:defRPr sz="1200"/>
            </a:lvl7pPr>
            <a:lvl8pPr marL="4266987" indent="0">
              <a:buNone/>
              <a:defRPr sz="1200"/>
            </a:lvl8pPr>
            <a:lvl9pPr marL="4876557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C457F-227C-42A3-9A11-6C800A63A45A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8154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B374FB-0273-49B2-806C-A66573BBD1EB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34766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8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8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4ED01B-4ABB-4898-96D1-2B1C61E69073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60789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7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C48C62-C3E0-4779-A1BA-3753C7A78F55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71301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B5682-C18A-4AF5-AEA0-0B3AF5998B83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0862254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313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6"/>
            <a:ext cx="10363200" cy="150071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C634E2-6322-45F9-AB7F-A21DD9FD0250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76573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43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FC1BB8-79CB-4B31-B1C3-855E02C6D138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170827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5"/>
            <a:ext cx="5386917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5"/>
            <a:ext cx="5386917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4585"/>
            <a:ext cx="5389033" cy="64134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5935"/>
            <a:ext cx="5389033" cy="39497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36E99-A762-4AC1-9EC6-54E59BEE8347}" type="datetime1">
              <a:rPr lang="en-US" smtClean="0"/>
              <a:t>6/6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25745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289533-57F2-4967-ACCC-C9755C981E92}" type="datetime1">
              <a:rPr lang="en-US" smtClean="0"/>
              <a:t>6/6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74865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0A0657-451F-4A1D-AB0B-E276FA4613B6}" type="datetime1">
              <a:rPr lang="en-US" smtClean="0"/>
              <a:t>6/6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024579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4"/>
            <a:ext cx="4011084" cy="116204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053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8C3069-D129-4249-8867-1C9B5141F586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8869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726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8"/>
            <a:ext cx="731520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7189" indent="0">
              <a:buNone/>
              <a:defRPr sz="1200"/>
            </a:lvl2pPr>
            <a:lvl3pPr marL="914377" indent="0">
              <a:buNone/>
              <a:defRPr sz="1000"/>
            </a:lvl3pPr>
            <a:lvl4pPr marL="1371566" indent="0">
              <a:buNone/>
              <a:defRPr sz="900"/>
            </a:lvl4pPr>
            <a:lvl5pPr marL="1828754" indent="0">
              <a:buNone/>
              <a:defRPr sz="900"/>
            </a:lvl5pPr>
            <a:lvl6pPr marL="2285943" indent="0">
              <a:buNone/>
              <a:defRPr sz="900"/>
            </a:lvl6pPr>
            <a:lvl7pPr marL="2743131" indent="0">
              <a:buNone/>
              <a:defRPr sz="900"/>
            </a:lvl7pPr>
            <a:lvl8pPr marL="3200320" indent="0">
              <a:buNone/>
              <a:defRPr sz="900"/>
            </a:lvl8pPr>
            <a:lvl9pPr marL="3657509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B2A74C-C2C7-4659-B356-7AC813AC23F7}" type="datetime1">
              <a:rPr lang="en-US" smtClean="0"/>
              <a:t>6/6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38105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90B49B-2A9B-4B91-BF58-9ECCA201C17D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51492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9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9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F4994-C0BA-4140-8BBB-F7CD719B62CF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05299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1485"/>
            <a:ext cx="10363200" cy="14689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756163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0314563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0"/>
            <a:ext cx="10363200" cy="1363133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185"/>
            <a:ext cx="10363200" cy="1500716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042138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43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91180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4584"/>
            <a:ext cx="5386917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5934"/>
            <a:ext cx="5386917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4584"/>
            <a:ext cx="5389033" cy="641349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5934"/>
            <a:ext cx="5389033" cy="3949700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084459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66436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6328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2"/>
            <a:ext cx="4011084" cy="116204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258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0"/>
            <a:ext cx="4011084" cy="46905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977516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7267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3833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867"/>
            <a:ext cx="7315200" cy="80433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42648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00256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5167"/>
            <a:ext cx="2743200" cy="585046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5167"/>
            <a:ext cx="8026400" cy="58504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273867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628134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2407723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0700644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061786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99216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13098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452716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08017464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5839311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351794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454066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287347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82484562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46693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18907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03279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8905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19838423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298532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9223163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37780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685997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6918044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10142740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081256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16695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7787084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29757271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00507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141897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29256062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5134664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896781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697823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65453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5474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566008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2000486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175110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0015491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836364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565844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436585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73098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80776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25388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870875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26069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2738741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592728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8084066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49309259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113842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6346028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41243007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3557349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34475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6149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909671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05394023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81029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8564894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232148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4858922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78480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50219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6593569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87089622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633336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214134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3047582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8513226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569704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4921989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325188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890902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205972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6433769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653400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262851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4357755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0770498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2034000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9741225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20920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91998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19801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34630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534876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34237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6174702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02158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3638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33652623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48715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8908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02498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5329862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500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15498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19127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58721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22692874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22314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2970806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4048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51030725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36987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835237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7954419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042405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29642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3937231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99708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593373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922326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159200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0952006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286286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072319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88213103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154019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09715670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36627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7019575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7433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91682396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5279792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9649529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9633348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695171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644693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314581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68829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6419393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0387754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545334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4246595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49606301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1314097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3211403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778662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40776772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75196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78418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865534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931968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58981124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422789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93831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18090659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39524069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615795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361694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752073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80041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0584278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98629500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20540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34698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699709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76601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020922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1BFB96-B209-B245-8059-C9A876BB58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343903" y="6370016"/>
            <a:ext cx="4258300" cy="365125"/>
          </a:xfrm>
        </p:spPr>
        <p:txBody>
          <a:bodyPr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5731D-9F93-2B4F-BB58-9A36944068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11" y="6370016"/>
            <a:ext cx="3305463" cy="365125"/>
          </a:xfrm>
        </p:spPr>
        <p:txBody>
          <a:bodyPr/>
          <a:lstStyle>
            <a:lvl1pPr>
              <a:defRPr sz="11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B1DDA7C-0811-7C49-A098-BFE5C5646B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1199649" y="5081783"/>
            <a:ext cx="803739" cy="11318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DF96C8F-3EA2-F446-82B5-EB7F6B8E25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9865" y="1322310"/>
            <a:ext cx="7347488" cy="2850879"/>
          </a:xfrm>
        </p:spPr>
        <p:txBody>
          <a:bodyPr bIns="0" anchor="b" anchorCtr="0">
            <a:noAutofit/>
          </a:bodyPr>
          <a:lstStyle>
            <a:lvl1pPr fontAlgn="base">
              <a:lnSpc>
                <a:spcPct val="85000"/>
              </a:lnSpc>
              <a:defRPr sz="66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0F84FE7-0540-3B41-8011-E3E03A7CCB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9877" y="4339543"/>
            <a:ext cx="5626639" cy="457199"/>
          </a:xfrm>
        </p:spPr>
        <p:txBody>
          <a:bodyPr>
            <a:normAutofit/>
          </a:bodyPr>
          <a:lstStyle>
            <a:lvl1pPr marL="0" indent="0">
              <a:buNone/>
              <a:defRPr sz="1430" spc="3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BA5CF0F-7E2D-4728-A880-39884FE2B2B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121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40">
          <p15:clr>
            <a:srgbClr val="FBAE40"/>
          </p15:clr>
        </p15:guide>
        <p15:guide id="2" pos="768">
          <p15:clr>
            <a:srgbClr val="FBAE40"/>
          </p15:clr>
        </p15:guide>
      </p15:sldGuideLst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D4AA46-A5E1-D542-8104-A09FED725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321" y="681149"/>
            <a:ext cx="9854317" cy="390523"/>
          </a:xfrm>
        </p:spPr>
        <p:txBody>
          <a:bodyPr/>
          <a:lstStyle>
            <a:lvl1pPr>
              <a:defRPr sz="2000" b="1" spc="20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82797D-D6FC-5140-AF46-C6F6A647688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389321" y="1477151"/>
            <a:ext cx="9854317" cy="4307435"/>
          </a:xfrm>
        </p:spPr>
        <p:txBody>
          <a:bodyPr lIns="0" tIns="0"/>
          <a:lstStyle>
            <a:lvl1pPr marL="571500" indent="-571500">
              <a:buSzPct val="140000"/>
              <a:buFont typeface="Courier New" panose="02070309020205020404" pitchFamily="49" charset="0"/>
              <a:buChar char="o"/>
              <a:defRPr sz="2800"/>
            </a:lvl1pPr>
            <a:lvl2pPr marL="974725" indent="-346075">
              <a:defRPr sz="2800"/>
            </a:lvl2pPr>
            <a:lvl3pPr marL="1371600" indent="-304800">
              <a:defRPr/>
            </a:lvl3pPr>
            <a:lvl4pPr marL="1768475" indent="-342900">
              <a:defRPr/>
            </a:lvl4pPr>
            <a:lvl5pPr marL="2117725" indent="-292100">
              <a:defRPr/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49E54-A108-1C4D-9843-175CDBDF3F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61104" y="6356368"/>
            <a:ext cx="4648720" cy="365125"/>
          </a:xfrm>
        </p:spPr>
        <p:txBody>
          <a:bodyPr/>
          <a:lstStyle>
            <a:lvl1pPr algn="l">
              <a:defRPr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E4767A-6F26-144D-9550-0D521B79F6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05276" y="6356368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AAAF3C-23D9-B549-BAAB-9BBAF141E0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30385" t="-44474" r="17431" b="-56261"/>
          <a:stretch/>
        </p:blipFill>
        <p:spPr>
          <a:xfrm>
            <a:off x="0" y="1542079"/>
            <a:ext cx="1177871" cy="6354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B42511C-F166-40BE-A84C-4AA83A0B812A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7108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864">
          <p15:clr>
            <a:srgbClr val="FBAE40"/>
          </p15:clr>
        </p15:guide>
      </p15:sldGuideLst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Light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72464" y="2624131"/>
            <a:ext cx="7471347" cy="1763902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800" b="1" i="0" kern="0" spc="-150" baseline="0" dirty="0">
                <a:solidFill>
                  <a:schemeClr val="accent1">
                    <a:lumMod val="75000"/>
                  </a:schemeClr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574925" y="1798926"/>
            <a:ext cx="7471347" cy="812800"/>
          </a:xfrm>
        </p:spPr>
        <p:txBody>
          <a:bodyPr lIns="0" tIns="0" bIns="0" anchor="b">
            <a:noAutofit/>
          </a:bodyPr>
          <a:lstStyle>
            <a:lvl1pPr marL="0" indent="0">
              <a:buNone/>
              <a:defRPr sz="1600" b="0" i="0" spc="300">
                <a:solidFill>
                  <a:schemeClr val="accent2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A42C5F1-2F01-BC45-B052-0E2591C3E04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 flipV="1">
            <a:off x="2584152" y="4684991"/>
            <a:ext cx="591257" cy="832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237F76B-1F52-40AF-9DDD-885F465F4DA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6938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08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Title Slide (Dark)">
    <p:bg>
      <p:bgPr>
        <a:blipFill dpi="0" rotWithShape="1">
          <a:blip r:embed="rId2">
            <a:lum/>
          </a:blip>
          <a:srcRect/>
          <a:stretch>
            <a:fillRect t="-3000" r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98AFDD-2CC6-8049-A544-11AF67749A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28628" y="2701383"/>
            <a:ext cx="7489159" cy="1679599"/>
          </a:xfrm>
        </p:spPr>
        <p:txBody>
          <a:bodyPr tIns="0" bIns="0" anchor="ctr" anchorCtr="0">
            <a:normAutofit/>
          </a:bodyPr>
          <a:lstStyle>
            <a:lvl1pPr>
              <a:lnSpc>
                <a:spcPct val="80000"/>
              </a:lnSpc>
              <a:defRPr lang="en-US" sz="5500" b="1" i="0" kern="0" spc="-150" baseline="0" dirty="0">
                <a:solidFill>
                  <a:srgbClr val="FFECE6"/>
                </a:solidFill>
                <a:latin typeface="Spectral ExtraBold" panose="02020902060000000000" pitchFamily="18" charset="77"/>
                <a:ea typeface="SimSun" panose="02010600030101010101" pitchFamily="2" charset="-122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C06BC0-24B0-BD4A-A607-3DA9A22B78E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628628" y="1798675"/>
            <a:ext cx="7489159" cy="812800"/>
          </a:xfrm>
        </p:spPr>
        <p:txBody>
          <a:bodyPr lIns="0" anchor="b">
            <a:normAutofit/>
          </a:bodyPr>
          <a:lstStyle>
            <a:lvl1pPr marL="0" indent="0">
              <a:buNone/>
              <a:defRPr sz="1600" b="0" i="0" spc="300">
                <a:solidFill>
                  <a:srgbClr val="FFECE6"/>
                </a:solidFill>
                <a:latin typeface="Metropolis Extra Light" pitchFamily="2" charset="77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4256CC-84D5-0646-BD44-02191960D1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60685" y="6356368"/>
            <a:ext cx="3392715" cy="365125"/>
          </a:xfrm>
        </p:spPr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E73A40-A8F0-E143-80BC-A0AC4AAF29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ECE6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F69981D-893B-9B47-A36C-4AEE6DF3CF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lum bright="47000"/>
          </a:blip>
          <a:stretch>
            <a:fillRect/>
          </a:stretch>
        </p:blipFill>
        <p:spPr>
          <a:xfrm flipV="1">
            <a:off x="2628632" y="4688659"/>
            <a:ext cx="591257" cy="8325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3B65CD-19D2-48DC-94CB-A629454124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lum bright="100000"/>
          </a:blip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75580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1656">
          <p15:clr>
            <a:srgbClr val="FBAE40"/>
          </p15:clr>
        </p15:guide>
      </p15:sldGuideLst>
    </p:ext>
  </p:extLs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cs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1F221-2BC3-E54F-B0FA-0E997C82FF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651" y="677144"/>
            <a:ext cx="9356368" cy="390523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38DE30-E2CF-F94F-BA4F-A647229E91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A18297-ED40-AE4D-B8E3-4B14EACD6F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54F4AF3-3E0A-D14B-AFA1-1B60797F5DA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517651" y="1394850"/>
            <a:ext cx="10398412" cy="4734491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/>
            </a:lvl1pPr>
            <a:lvl2pPr marL="854075" indent="-393700">
              <a:defRPr/>
            </a:lvl2pPr>
            <a:lvl3pPr marL="1203325" indent="-365125">
              <a:defRPr/>
            </a:lvl3pPr>
            <a:lvl4pPr marL="1539875" indent="-342900">
              <a:defRPr/>
            </a:lvl4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  <a:p>
            <a:pPr lvl="2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81DECFA-CB67-4136-92B7-52DD0D6F4EA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0827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F0DD66-77C0-7241-9B19-FF637C83DC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578429" y="4221016"/>
            <a:ext cx="3494315" cy="1319814"/>
          </a:xfrm>
        </p:spPr>
        <p:txBody>
          <a:bodyPr lIns="0"/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E7EDD8F-91EE-B741-8CC7-A1B75474A3C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277531" y="675864"/>
            <a:ext cx="6927256" cy="5907131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BA8FBA-0F69-7E4B-8131-B8C9E5AC4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436919"/>
            <a:ext cx="5060080" cy="2597299"/>
          </a:xfrm>
        </p:spPr>
        <p:txBody>
          <a:bodyPr anchor="b">
            <a:noAutofit/>
          </a:bodyPr>
          <a:lstStyle>
            <a:lvl1pPr>
              <a:defRPr sz="5000" b="1" i="0" spc="-150">
                <a:solidFill>
                  <a:schemeClr val="accent1">
                    <a:lumMod val="50000"/>
                  </a:schemeClr>
                </a:solidFill>
                <a:latin typeface="Spectral ExtraBold" panose="02020502060000000000" pitchFamily="18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8FAF02-950B-4B1B-AC2A-4C83655E8D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11603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A0BC1-E26E-F348-8264-AE55E08674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7467" y="600034"/>
            <a:ext cx="10163196" cy="275647"/>
          </a:xfrm>
        </p:spPr>
        <p:txBody>
          <a:bodyPr/>
          <a:lstStyle>
            <a:lvl1pPr>
              <a:defRPr sz="20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515E8F-7CC1-7A45-9C9D-F49BF2CAE0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63880" y="1324554"/>
            <a:ext cx="5157787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77B413C-B2A5-2B49-A4B8-E9FFD6BBEF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1184779" y="2200533"/>
            <a:ext cx="5136889" cy="3356642"/>
          </a:xfrm>
        </p:spPr>
        <p:txBody>
          <a:bodyPr/>
          <a:lstStyle>
            <a:lvl1pPr>
              <a:defRPr sz="2800"/>
            </a:lvl1pPr>
            <a:lvl3pPr marL="800100" indent="-34290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40C7541-396E-B04E-BA5F-78A114E0379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519452" y="1324554"/>
            <a:ext cx="5160039" cy="537177"/>
          </a:xfrm>
        </p:spPr>
        <p:txBody>
          <a:bodyPr anchor="t" anchorCtr="0"/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68678F0-C2AA-FE49-BABD-8E84BFBA88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542589" y="2200533"/>
            <a:ext cx="5160040" cy="3356642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A6CF3B6-96DD-354B-9D35-097AC7F6B8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5B91E0-4870-CD48-8ECC-1DBCDBF283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C882155A-D15F-6441-98DD-4C50FAA1A628}"/>
              </a:ext>
            </a:extLst>
          </p:cNvPr>
          <p:cNvCxnSpPr/>
          <p:nvPr userDrawn="1"/>
        </p:nvCxnSpPr>
        <p:spPr>
          <a:xfrm>
            <a:off x="1163880" y="1183938"/>
            <a:ext cx="5157787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42D5B9-E51E-504A-A069-E877528889DD}"/>
              </a:ext>
            </a:extLst>
          </p:cNvPr>
          <p:cNvCxnSpPr>
            <a:cxnSpLocks/>
          </p:cNvCxnSpPr>
          <p:nvPr userDrawn="1"/>
        </p:nvCxnSpPr>
        <p:spPr>
          <a:xfrm>
            <a:off x="6496295" y="1183938"/>
            <a:ext cx="5183188" cy="0"/>
          </a:xfrm>
          <a:prstGeom prst="line">
            <a:avLst/>
          </a:prstGeom>
          <a:ln w="4762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C1C28F0-BE87-4D4C-8ABB-585C9A7178AB}"/>
              </a:ext>
            </a:extLst>
          </p:cNvPr>
          <p:cNvCxnSpPr/>
          <p:nvPr userDrawn="1"/>
        </p:nvCxnSpPr>
        <p:spPr>
          <a:xfrm>
            <a:off x="1163880" y="2075189"/>
            <a:ext cx="5157787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F103DE9-94D1-6845-BD4E-842135DC9FF6}"/>
              </a:ext>
            </a:extLst>
          </p:cNvPr>
          <p:cNvCxnSpPr>
            <a:cxnSpLocks/>
          </p:cNvCxnSpPr>
          <p:nvPr userDrawn="1"/>
        </p:nvCxnSpPr>
        <p:spPr>
          <a:xfrm>
            <a:off x="6519440" y="2075189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9B66F85-9BD7-4043-B761-2BAD2FFD09F6}"/>
              </a:ext>
            </a:extLst>
          </p:cNvPr>
          <p:cNvCxnSpPr>
            <a:cxnSpLocks/>
          </p:cNvCxnSpPr>
          <p:nvPr userDrawn="1"/>
        </p:nvCxnSpPr>
        <p:spPr>
          <a:xfrm>
            <a:off x="1187032" y="5956762"/>
            <a:ext cx="5134639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ABBB607-D0F6-8148-93DE-AB163FE92524}"/>
              </a:ext>
            </a:extLst>
          </p:cNvPr>
          <p:cNvCxnSpPr>
            <a:cxnSpLocks/>
          </p:cNvCxnSpPr>
          <p:nvPr userDrawn="1"/>
        </p:nvCxnSpPr>
        <p:spPr>
          <a:xfrm>
            <a:off x="6542589" y="5956762"/>
            <a:ext cx="5160040" cy="0"/>
          </a:xfrm>
          <a:prstGeom prst="line">
            <a:avLst/>
          </a:prstGeom>
          <a:ln w="15875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21" name="Picture 20">
            <a:extLst>
              <a:ext uri="{FF2B5EF4-FFF2-40B4-BE49-F238E27FC236}">
                <a16:creationId xmlns:a16="http://schemas.microsoft.com/office/drawing/2014/main" id="{E176AB45-BDCE-4010-ABA8-DAC438A4C0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5943" y="6369829"/>
            <a:ext cx="1664793" cy="2511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49904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ith Anim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60286"/>
            <a:ext cx="10515600" cy="391286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2700" baseline="0">
                <a:latin typeface="Arial"/>
                <a:cs typeface="Arial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800" b="0" i="0" baseline="0">
                <a:solidFill>
                  <a:schemeClr val="bg1">
                    <a:lumMod val="50000"/>
                  </a:schemeClr>
                </a:solidFill>
                <a:latin typeface="Arial"/>
                <a:ea typeface="Gotham-Book" charset="0"/>
                <a:cs typeface="Arial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750"/>
              </a:spcAft>
              <a:defRPr sz="1200" baseline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199" y="344715"/>
            <a:ext cx="10515600" cy="879928"/>
          </a:xfrm>
        </p:spPr>
        <p:txBody>
          <a:bodyPr/>
          <a:lstStyle>
            <a:lvl1pPr>
              <a:defRPr>
                <a:solidFill>
                  <a:schemeClr val="accent5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83605796"/>
      </p:ext>
    </p:extLst>
  </p:cSld>
  <p:clrMapOvr>
    <a:masterClrMapping/>
  </p:clrMapOvr>
  <p:transition/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5093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66" t="12357" r="3916" b="13787"/>
          <a:stretch/>
        </p:blipFill>
        <p:spPr>
          <a:xfrm>
            <a:off x="2785067" y="4295432"/>
            <a:ext cx="4242816" cy="999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547139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FF5B5C8-7B69-51AA-F46D-C920F46E35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66" t="12357" r="3916" b="13787"/>
          <a:stretch/>
        </p:blipFill>
        <p:spPr>
          <a:xfrm>
            <a:off x="7638765" y="5023720"/>
            <a:ext cx="4242816" cy="9995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143675" y="831049"/>
            <a:ext cx="9861493" cy="2387600"/>
          </a:xfrm>
          <a:prstGeom prst="rect">
            <a:avLst/>
          </a:prstGeom>
        </p:spPr>
        <p:txBody>
          <a:bodyPr anchor="b"/>
          <a:lstStyle>
            <a:lvl1pPr algn="l">
              <a:defRPr sz="5333" b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43675" y="3229439"/>
            <a:ext cx="9861493" cy="44275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ation Subtitle (2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143675" y="3882599"/>
            <a:ext cx="9861493" cy="45041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 i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marL="0" indent="0">
              <a:buNone/>
            </a:pPr>
            <a:r>
              <a:rPr lang="en-US" sz="1867">
                <a:solidFill>
                  <a:schemeClr val="tx1">
                    <a:lumMod val="65000"/>
                    <a:lumOff val="35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Date | Presenter Information (14 </a:t>
            </a:r>
            <a:r>
              <a:rPr lang="en-US" sz="1867" err="1">
                <a:solidFill>
                  <a:schemeClr val="tx1">
                    <a:lumMod val="65000"/>
                    <a:lumOff val="35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pt</a:t>
            </a:r>
            <a:r>
              <a:rPr lang="en-US" sz="1867">
                <a:solidFill>
                  <a:schemeClr val="tx1">
                    <a:lumMod val="65000"/>
                    <a:lumOff val="35000"/>
                  </a:schemeClr>
                </a:solidFill>
                <a:latin typeface="Verdana" charset="0"/>
                <a:ea typeface="Verdana" charset="0"/>
                <a:cs typeface="Verdana" charset="0"/>
              </a:rPr>
              <a:t>)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3C321A4-E52D-2845-8647-B84F191C389C}"/>
              </a:ext>
            </a:extLst>
          </p:cNvPr>
          <p:cNvSpPr/>
          <p:nvPr/>
        </p:nvSpPr>
        <p:spPr>
          <a:xfrm>
            <a:off x="0" y="6178040"/>
            <a:ext cx="12192000" cy="679961"/>
          </a:xfrm>
          <a:prstGeom prst="rect">
            <a:avLst/>
          </a:prstGeom>
          <a:solidFill>
            <a:srgbClr val="00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D8F7AC5-29D1-EB43-BF58-C8ABD803FFFB}"/>
              </a:ext>
            </a:extLst>
          </p:cNvPr>
          <p:cNvSpPr/>
          <p:nvPr/>
        </p:nvSpPr>
        <p:spPr>
          <a:xfrm>
            <a:off x="1" y="1"/>
            <a:ext cx="5396089" cy="86188"/>
          </a:xfrm>
          <a:prstGeom prst="rect">
            <a:avLst/>
          </a:prstGeom>
          <a:solidFill>
            <a:srgbClr val="A2C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3C321A4-E52D-2845-8647-B84F191C389C}"/>
              </a:ext>
            </a:extLst>
          </p:cNvPr>
          <p:cNvSpPr/>
          <p:nvPr userDrawn="1"/>
        </p:nvSpPr>
        <p:spPr>
          <a:xfrm>
            <a:off x="0" y="6178040"/>
            <a:ext cx="12192000" cy="679961"/>
          </a:xfrm>
          <a:prstGeom prst="rect">
            <a:avLst/>
          </a:prstGeom>
          <a:solidFill>
            <a:srgbClr val="00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8F7AC5-29D1-EB43-BF58-C8ABD803FFFB}"/>
              </a:ext>
            </a:extLst>
          </p:cNvPr>
          <p:cNvSpPr/>
          <p:nvPr userDrawn="1"/>
        </p:nvSpPr>
        <p:spPr>
          <a:xfrm>
            <a:off x="1" y="1"/>
            <a:ext cx="5396089" cy="86188"/>
          </a:xfrm>
          <a:prstGeom prst="rect">
            <a:avLst/>
          </a:prstGeom>
          <a:solidFill>
            <a:srgbClr val="A2C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7063F9D-F93B-595F-B49C-E4B0A7B27D8B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39794B4B-7882-E4E6-FF20-18E4EFF4D1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7" name="Picture 6" descr="Shape, rectangle&#10;&#10;Description automatically generated">
            <a:extLst>
              <a:ext uri="{FF2B5EF4-FFF2-40B4-BE49-F238E27FC236}">
                <a16:creationId xmlns:a16="http://schemas.microsoft.com/office/drawing/2014/main" id="{38F82E2B-5E58-7B57-6F9D-27D3370025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68C7E7E0-EF66-44E3-7BBC-87DDB4FC9A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80723"/>
            <a:ext cx="10156179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433C4F75-1E14-A328-5775-AE72A43429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66" t="16386" r="3916" b="39745"/>
          <a:stretch/>
        </p:blipFill>
        <p:spPr>
          <a:xfrm>
            <a:off x="5762487" y="6461660"/>
            <a:ext cx="2413776" cy="3412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80723"/>
            <a:ext cx="10156179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E464766A-BE93-C3A9-99A0-AFC7764323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8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DFBDB5E9-DC14-D8DF-E5AA-5F647822F5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4D378054-FAD6-F182-1D43-23EED3F13FF2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FA44862C-7E14-4CE8-63D6-8C5893B432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7" name="Picture 6" descr="Shape, rectangle&#10;&#10;Description automatically generated">
            <a:extLst>
              <a:ext uri="{FF2B5EF4-FFF2-40B4-BE49-F238E27FC236}">
                <a16:creationId xmlns:a16="http://schemas.microsoft.com/office/drawing/2014/main" id="{848EC431-D1B1-6E41-1CDA-C7FFE6E607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8B940DA2-4566-0417-CB89-51CF166001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57712"/>
            <a:ext cx="10177757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Layout_No Bottom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57712"/>
            <a:ext cx="10177757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50019" y="1614842"/>
            <a:ext cx="10176728" cy="3435349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 b="1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2133" b="1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2133" b="1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2133" b="1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BEE73E-C179-A6F2-E174-1B7028BFF1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66" t="16386" r="3916" b="39745"/>
          <a:stretch/>
        </p:blipFill>
        <p:spPr>
          <a:xfrm>
            <a:off x="5762487" y="6461660"/>
            <a:ext cx="2413776" cy="341209"/>
          </a:xfrm>
          <a:prstGeom prst="rect">
            <a:avLst/>
          </a:prstGeom>
        </p:spPr>
      </p:pic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B5B430AB-4648-6B00-6772-5731B963FF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8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59BF859F-CA0E-3443-C0D5-37976FFE9A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2CDB4DBA-B694-3600-7CAD-4C2D2D087078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1C728AD5-E6DD-9906-2250-BB27037763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7" name="Picture 6" descr="Shape, rectangle&#10;&#10;Description automatically generated">
            <a:extLst>
              <a:ext uri="{FF2B5EF4-FFF2-40B4-BE49-F238E27FC236}">
                <a16:creationId xmlns:a16="http://schemas.microsoft.com/office/drawing/2014/main" id="{C8125D25-6543-B5A4-0AB5-6FF8AE66D1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C91F210D-3975-EE08-074A-813B50DC99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228393"/>
            <a:ext cx="5466561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</p:spTree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Copy with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26B79CE-FAC8-5E67-D552-B71C536ED955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E01BE7C-AE32-E8CF-B6EC-2663E221F6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E402945C-7D34-ECD4-4898-D53D6DF27E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C1521A80-3CCF-9B93-4FF8-D726451782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2361" y="863628"/>
            <a:ext cx="10767800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 across top of slid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77593" y="2211822"/>
            <a:ext cx="7142569" cy="3646375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800" b="1" i="0">
                <a:latin typeface="Verdana" charset="0"/>
                <a:ea typeface="Verdana" charset="0"/>
                <a:cs typeface="Verdana" charset="0"/>
              </a:defRPr>
            </a:lvl2pPr>
            <a:lvl3pPr>
              <a:defRPr sz="2400" b="1" i="0">
                <a:latin typeface="Verdana" charset="0"/>
                <a:ea typeface="Verdana" charset="0"/>
                <a:cs typeface="Verdana" charset="0"/>
              </a:defRPr>
            </a:lvl3pPr>
            <a:lvl4pPr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>
              <a:defRPr sz="2000" b="1" i="0">
                <a:latin typeface="Verdana" charset="0"/>
                <a:ea typeface="Verdana" charset="0"/>
                <a:cs typeface="Verdana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*Insert Graph Here.</a:t>
            </a:r>
          </a:p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52361" y="2211823"/>
            <a:ext cx="3381297" cy="36463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0" i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opy goes here.</a:t>
            </a:r>
          </a:p>
          <a:p>
            <a:pPr lvl="0"/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852361" y="1614803"/>
            <a:ext cx="10767801" cy="3725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head</a:t>
            </a:r>
          </a:p>
        </p:txBody>
      </p:sp>
    </p:spTree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Copy with Graph Cente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C184BE0-0284-B0A4-758B-E88129B2D283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1925993-1EF9-4234-7D77-046FB1C5C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33354EE0-410D-40F7-8A11-5965934BB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8D1EB592-03BA-5329-CE3C-94EC14977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52361" y="863628"/>
            <a:ext cx="10767801" cy="757130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 across top of slid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524716" y="2600007"/>
            <a:ext cx="7142569" cy="3589988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800" b="1" i="0">
                <a:latin typeface="Verdana" charset="0"/>
                <a:ea typeface="Verdana" charset="0"/>
                <a:cs typeface="Verdana" charset="0"/>
              </a:defRPr>
            </a:lvl2pPr>
            <a:lvl3pPr>
              <a:defRPr sz="2400" b="1" i="0">
                <a:latin typeface="Verdana" charset="0"/>
                <a:ea typeface="Verdana" charset="0"/>
                <a:cs typeface="Verdana" charset="0"/>
              </a:defRPr>
            </a:lvl3pPr>
            <a:lvl4pPr>
              <a:defRPr sz="2000" b="1" i="0">
                <a:latin typeface="Verdana" charset="0"/>
                <a:ea typeface="Verdana" charset="0"/>
                <a:cs typeface="Verdana" charset="0"/>
              </a:defRPr>
            </a:lvl4pPr>
            <a:lvl5pPr>
              <a:defRPr sz="2000" b="1" i="0">
                <a:latin typeface="Verdana" charset="0"/>
                <a:ea typeface="Verdana" charset="0"/>
                <a:cs typeface="Verdana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*Insert Graph Here.</a:t>
            </a:r>
          </a:p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852361" y="1620758"/>
            <a:ext cx="10767801" cy="860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opy goes here.</a:t>
            </a:r>
          </a:p>
        </p:txBody>
      </p:sp>
    </p:spTree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Section | Call Out and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E05F464-2F05-A945-5A1A-B8D50CC2F1CC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660F6459-D9FA-6FDF-F512-B7297C9A4B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7CC8A3E5-948B-84F0-A33F-92ED9063DF6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8442C607-3E36-A9B7-6086-5AC63C3DFE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566049" y="2101540"/>
            <a:ext cx="4789339" cy="1939313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marL="0" indent="0">
              <a:buNone/>
              <a:defRPr sz="2133" b="0" i="0" baseline="0"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opy goes here.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olorati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rum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uda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ligni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equo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t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ed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luptae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endi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on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libusd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ero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t,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x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atu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du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lupti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i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nisit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lupis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eser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vidiorum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qui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ditae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rit</a:t>
            </a:r>
            <a:r>
              <a:rPr lang="en-US" sz="1867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867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atat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999B04B-69FA-9748-A64D-1E52D36BD989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7E0F112-B547-4041-A25D-59D26F57744E}"/>
              </a:ext>
            </a:extLst>
          </p:cNvPr>
          <p:cNvCxnSpPr/>
          <p:nvPr/>
        </p:nvCxnSpPr>
        <p:spPr>
          <a:xfrm>
            <a:off x="6059849" y="838200"/>
            <a:ext cx="0" cy="4728117"/>
          </a:xfrm>
          <a:prstGeom prst="line">
            <a:avLst/>
          </a:prstGeom>
          <a:ln w="22225">
            <a:solidFill>
              <a:srgbClr val="A4D65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le 15">
            <a:extLst>
              <a:ext uri="{FF2B5EF4-FFF2-40B4-BE49-F238E27FC236}">
                <a16:creationId xmlns:a16="http://schemas.microsoft.com/office/drawing/2014/main" id="{C13B7327-FD28-414B-B0BF-5F096B2B31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58691" y="2179616"/>
            <a:ext cx="4479151" cy="1785104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4000" b="1">
                <a:solidFill>
                  <a:srgbClr val="003B5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allout or Headline goes in this space.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Caption with Half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F1E061C3-B25B-F487-D790-BFE98E7AB420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CBCCDA5B-AF95-CFC4-CA5E-ADC1F918B2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13" name="Picture 12" descr="Shape, rectangle&#10;&#10;Description automatically generated">
            <a:extLst>
              <a:ext uri="{FF2B5EF4-FFF2-40B4-BE49-F238E27FC236}">
                <a16:creationId xmlns:a16="http://schemas.microsoft.com/office/drawing/2014/main" id="{152FC7F8-DC0E-81BA-6CB5-335627A86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14" name="Picture 13" descr="Text&#10;&#10;Description automatically generated">
            <a:extLst>
              <a:ext uri="{FF2B5EF4-FFF2-40B4-BE49-F238E27FC236}">
                <a16:creationId xmlns:a16="http://schemas.microsoft.com/office/drawing/2014/main" id="{0CD0D956-8D98-E4E3-B43F-7E6A9E083E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129800" y="823154"/>
            <a:ext cx="4369301" cy="1497215"/>
          </a:xfrm>
          <a:prstGeom prst="rect">
            <a:avLst/>
          </a:prstGeom>
        </p:spPr>
        <p:txBody>
          <a:bodyPr anchor="b"/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6516786" y="1"/>
            <a:ext cx="5675213" cy="6292393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i="1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*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29798" y="2320369"/>
            <a:ext cx="4369303" cy="34376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 b="0" i="0" baseline="0"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opy goes here.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</p:spTree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 with Caption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E5D80FD-93FD-AFF4-1FDE-50021C79BEAB}"/>
              </a:ext>
            </a:extLst>
          </p:cNvPr>
          <p:cNvSpPr/>
          <p:nvPr userDrawn="1"/>
        </p:nvSpPr>
        <p:spPr>
          <a:xfrm>
            <a:off x="0" y="6321760"/>
            <a:ext cx="12192000" cy="544883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14ED21DC-B5E6-29BD-4409-DA9F6AEDB1D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F1B369C5-E646-AD1B-A588-F455D47A2D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945A2991-7E9B-284F-92B5-0EB07AF3B6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 noChangeAspect="1"/>
          </p:cNvSpPr>
          <p:nvPr>
            <p:ph type="pic" idx="1" hasCustomPrompt="1"/>
          </p:nvPr>
        </p:nvSpPr>
        <p:spPr>
          <a:xfrm>
            <a:off x="1" y="1"/>
            <a:ext cx="12191999" cy="629239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00" i="1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	*Click to add full-size im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</p:spTree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ection Divider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8200" y="2656483"/>
            <a:ext cx="10515600" cy="757130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ctr">
              <a:defRPr sz="4800" b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Click to add title.</a:t>
            </a:r>
          </a:p>
        </p:txBody>
      </p:sp>
      <p:pic>
        <p:nvPicPr>
          <p:cNvPr id="9" name="Picture 8" descr="Shape&#10;&#10;Description automatically generated">
            <a:extLst>
              <a:ext uri="{FF2B5EF4-FFF2-40B4-BE49-F238E27FC236}">
                <a16:creationId xmlns:a16="http://schemas.microsoft.com/office/drawing/2014/main" id="{3E5A8FE6-6641-46FB-10EA-2999CBEB4F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" r="40189" b="81812"/>
          <a:stretch/>
        </p:blipFill>
        <p:spPr>
          <a:xfrm>
            <a:off x="8446593" y="6347233"/>
            <a:ext cx="3745331" cy="511457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DB70A984-1F47-EF7A-DC77-7A586983C7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3723795B-4F01-86B8-DD58-AF24AAB5C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ection Divider_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0EAD8D8-DFA2-114E-B91D-06C945A62334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838200" y="2656483"/>
            <a:ext cx="10515600" cy="757130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algn="ctr">
              <a:defRPr sz="4800" b="1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Click to add title.</a:t>
            </a:r>
          </a:p>
        </p:txBody>
      </p:sp>
      <p:pic>
        <p:nvPicPr>
          <p:cNvPr id="3" name="Picture 2" descr="Shape, rectangle&#10;&#10;Description automatically generated">
            <a:extLst>
              <a:ext uri="{FF2B5EF4-FFF2-40B4-BE49-F238E27FC236}">
                <a16:creationId xmlns:a16="http://schemas.microsoft.com/office/drawing/2014/main" id="{572F09F9-C07A-1DF7-A3BA-CFAC284F3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22D329BD-DF7B-D3A0-527E-362D194E65A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B434E0F5-1315-EB02-DAF0-415C6045C79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Call Out and Copy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0EAD8D8-DFA2-114E-B91D-06C945A62334}"/>
              </a:ext>
            </a:extLst>
          </p:cNvPr>
          <p:cNvSpPr/>
          <p:nvPr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>
              <a:solidFill>
                <a:srgbClr val="00314C"/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92411" y="2591848"/>
            <a:ext cx="3186767" cy="167430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algn="l">
              <a:defRPr sz="3733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Call out or title option page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140273" y="1713284"/>
            <a:ext cx="7166999" cy="6463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40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b="1" i="0">
                <a:latin typeface="Verdana" charset="0"/>
                <a:ea typeface="Verdana" charset="0"/>
                <a:cs typeface="Verdana" charset="0"/>
              </a:defRPr>
            </a:lvl2pPr>
            <a:lvl3pPr>
              <a:defRPr b="1" i="0">
                <a:latin typeface="Verdana" charset="0"/>
                <a:ea typeface="Verdana" charset="0"/>
                <a:cs typeface="Verdana" charset="0"/>
              </a:defRPr>
            </a:lvl3pPr>
            <a:lvl4pPr>
              <a:defRPr b="1" i="0">
                <a:latin typeface="Verdana" charset="0"/>
                <a:ea typeface="Verdana" charset="0"/>
                <a:cs typeface="Verdana" charset="0"/>
              </a:defRPr>
            </a:lvl4pPr>
            <a:lvl5pPr>
              <a:defRPr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Insert title here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140273" y="2637614"/>
            <a:ext cx="7166999" cy="2046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Body copy goes here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E0F112-B547-4041-A25D-59D26F57744E}"/>
              </a:ext>
            </a:extLst>
          </p:cNvPr>
          <p:cNvCxnSpPr/>
          <p:nvPr/>
        </p:nvCxnSpPr>
        <p:spPr>
          <a:xfrm>
            <a:off x="3860801" y="949082"/>
            <a:ext cx="1799" cy="466231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4916892B-874D-8E4B-6623-B375EFCF19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" r="40189" b="81812"/>
          <a:stretch/>
        </p:blipFill>
        <p:spPr>
          <a:xfrm>
            <a:off x="8446593" y="6347233"/>
            <a:ext cx="3745331" cy="511457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4C54487C-CB7A-E08D-8246-6831EEBFAD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C466DA22-AF51-C383-EFE0-20C1CDF8E9C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Section | Call Out and Copy_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0EAD8D8-DFA2-114E-B91D-06C945A623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92411" y="2591848"/>
            <a:ext cx="3186767" cy="1674304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algn="l">
              <a:defRPr sz="3733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Call out or title option page.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140273" y="1713284"/>
            <a:ext cx="7166999" cy="646331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 marL="0" indent="0">
              <a:buNone/>
              <a:defRPr sz="4000" b="1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b="1" i="0">
                <a:latin typeface="Verdana" charset="0"/>
                <a:ea typeface="Verdana" charset="0"/>
                <a:cs typeface="Verdana" charset="0"/>
              </a:defRPr>
            </a:lvl2pPr>
            <a:lvl3pPr>
              <a:defRPr b="1" i="0">
                <a:latin typeface="Verdana" charset="0"/>
                <a:ea typeface="Verdana" charset="0"/>
                <a:cs typeface="Verdana" charset="0"/>
              </a:defRPr>
            </a:lvl3pPr>
            <a:lvl4pPr>
              <a:defRPr b="1" i="0">
                <a:latin typeface="Verdana" charset="0"/>
                <a:ea typeface="Verdana" charset="0"/>
                <a:cs typeface="Verdana" charset="0"/>
              </a:defRPr>
            </a:lvl4pPr>
            <a:lvl5pPr>
              <a:defRPr b="1" i="0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Insert title here.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4140273" y="2637614"/>
            <a:ext cx="7166999" cy="2046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0" i="0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Body copy goes here.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7E0F112-B547-4041-A25D-59D26F57744E}"/>
              </a:ext>
            </a:extLst>
          </p:cNvPr>
          <p:cNvCxnSpPr/>
          <p:nvPr/>
        </p:nvCxnSpPr>
        <p:spPr>
          <a:xfrm>
            <a:off x="3860801" y="949082"/>
            <a:ext cx="1799" cy="4662311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Shape, rectangle&#10;&#10;Description automatically generated">
            <a:extLst>
              <a:ext uri="{FF2B5EF4-FFF2-40B4-BE49-F238E27FC236}">
                <a16:creationId xmlns:a16="http://schemas.microsoft.com/office/drawing/2014/main" id="{D20BA1BC-E83A-A385-E973-0BB272D853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DCECA287-81A5-357D-DBC9-865D7EF99E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898A158A-A24E-878B-5FC0-8EE10B4268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_Quote or Statistic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1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133600" y="1863923"/>
            <a:ext cx="7924803" cy="233910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algn="ctr">
              <a:defRPr sz="5333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“Call out page for quotes or important statistics.”</a:t>
            </a:r>
          </a:p>
        </p:txBody>
      </p:sp>
      <p:pic>
        <p:nvPicPr>
          <p:cNvPr id="3" name="Picture 2" descr="Shape&#10;&#10;Description automatically generated">
            <a:extLst>
              <a:ext uri="{FF2B5EF4-FFF2-40B4-BE49-F238E27FC236}">
                <a16:creationId xmlns:a16="http://schemas.microsoft.com/office/drawing/2014/main" id="{C7CD7C24-AF78-EEF3-A03E-0A15E0B33B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1" r="40189" b="81812"/>
          <a:stretch/>
        </p:blipFill>
        <p:spPr>
          <a:xfrm>
            <a:off x="8446593" y="6347233"/>
            <a:ext cx="3745331" cy="511457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B8DBEC23-BEA3-4191-8616-DCE3C90C50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9A7EB37F-54A0-D1E6-7C4D-C6DAED0A73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_Quote or Statistic_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0EAD8D8-DFA2-114E-B91D-06C945A623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6163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1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2133600" y="1863923"/>
            <a:ext cx="7924803" cy="2339101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algn="ctr">
              <a:defRPr sz="5333" b="1" baseline="0">
                <a:solidFill>
                  <a:schemeClr val="bg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“Call out page for quotes or important statistics.”</a:t>
            </a:r>
          </a:p>
        </p:txBody>
      </p:sp>
      <p:pic>
        <p:nvPicPr>
          <p:cNvPr id="3" name="Picture 2" descr="Shape, rectangle&#10;&#10;Description automatically generated">
            <a:extLst>
              <a:ext uri="{FF2B5EF4-FFF2-40B4-BE49-F238E27FC236}">
                <a16:creationId xmlns:a16="http://schemas.microsoft.com/office/drawing/2014/main" id="{A0BF8FA9-F8D7-95BF-C36E-451737B20B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4357" t="-109" r="39759" b="81895"/>
          <a:stretch/>
        </p:blipFill>
        <p:spPr>
          <a:xfrm>
            <a:off x="8158320" y="6347232"/>
            <a:ext cx="4033680" cy="510768"/>
          </a:xfrm>
          <a:prstGeom prst="rect">
            <a:avLst/>
          </a:prstGeom>
        </p:spPr>
      </p:pic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17323AF6-F6E9-80CA-1EEE-63DDEF1621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16907" t="62319" r="16782" b="19130"/>
          <a:stretch/>
        </p:blipFill>
        <p:spPr>
          <a:xfrm>
            <a:off x="8810739" y="6480696"/>
            <a:ext cx="3002285" cy="243840"/>
          </a:xfrm>
          <a:prstGeom prst="rect">
            <a:avLst/>
          </a:prstGeom>
        </p:spPr>
      </p:pic>
      <p:pic>
        <p:nvPicPr>
          <p:cNvPr id="6" name="Picture 5" descr="Text&#10;&#10;Description automatically generated">
            <a:extLst>
              <a:ext uri="{FF2B5EF4-FFF2-40B4-BE49-F238E27FC236}">
                <a16:creationId xmlns:a16="http://schemas.microsoft.com/office/drawing/2014/main" id="{E7033D0B-50F9-97B2-EF59-93C1244610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5005" t="17990" r="4954" b="39003"/>
          <a:stretch/>
        </p:blipFill>
        <p:spPr>
          <a:xfrm>
            <a:off x="5762487" y="6473190"/>
            <a:ext cx="2377440" cy="32967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8209093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4189572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945933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45442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4176988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274158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294505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017028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233518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93746714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7650421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0361697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2108295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57265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8163883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13418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8929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8571526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9578591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1984415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974008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9033383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4698634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518103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973922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7702095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362765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3613385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593653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9260210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3853675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9059137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5120313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322744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785826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709665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704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8054011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39146748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8215153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4295443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725417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1258924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835858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7284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1297655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9331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8926360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1052506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8097972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125599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148150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264629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495511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43326878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64511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15609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728518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2877466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39761245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94613300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863978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0148134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39381216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6334838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103524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674463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1931833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48207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12577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31402215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98702667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1047618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48618745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426515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365160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65890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8356239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020919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422700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76493523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9746977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9147448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09755493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8818784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02810774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61733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1459235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28019514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85610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3084593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14654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78231635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4988827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0131532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3448545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920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3176852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03481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659175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010035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83123461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347676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815613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25182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0557748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25755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1243223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2071486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5083034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0279418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34441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441514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774803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337032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15192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3129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08268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1680684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694219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78006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842987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0872573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057764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20236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294430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26734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224738559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775055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69967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055422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128287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458670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458736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42886732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26788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7913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93722409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560158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16917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4623770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57062495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0173424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5958340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44125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56950052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13283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2089331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233011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8988944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702502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4727160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7607619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97330760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0381294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9945295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121012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30718851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5540729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147222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54876209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0503805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04717664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74016093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56485989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7368303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62876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65727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80816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28149110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8321224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41459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1624484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9666862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9317435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003059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391950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794344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69166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32082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744841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62696179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4687855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9368146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1623041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687163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639615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9877601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81381047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417701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1848341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52632218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01524277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4775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018225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1975200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43986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8149013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9846977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5884890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145441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1288329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7393838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025408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00406554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32340521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48446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66317240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391825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9620126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6671324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6948718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27823565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5948859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0033551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611420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191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7885718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457027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7860213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396527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4829665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74438345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52061710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56158812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2697134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644500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390455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5362228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275859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78924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63968112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52605680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713894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244501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9397681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4956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9004113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2000078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877205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5480919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16541560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5151960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844555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014228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8574310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946293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14036668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0222630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1973894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79156160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647805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41219022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30470201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5898955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31825586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5797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2039889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0351995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27596626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85468070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230131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26089206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157534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8942375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70288844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257737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593404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021331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297293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7096290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4207908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1577495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1527548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23521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98611888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287284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1005978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636797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5637224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360679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043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915230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75835841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3091845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230126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35057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96330499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84801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28493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6863824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830926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23611799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360953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6729598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849454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166635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641993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189440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147748444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835035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2229727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98098222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117092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9204345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8005436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91158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79511409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6348840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5098245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356693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93347452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79896185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567826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7433587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8076620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229556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6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6313598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3011851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7002346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3440450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8653143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385178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779178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527718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8896645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6961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6/6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" name="Google Shape;148;p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" name="Google Shape;149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" name="Google Shape;150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" name="Google Shape;152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>
              <a:alphaModFix/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533"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91" Type="http://schemas.openxmlformats.org/officeDocument/2006/relationships/slideLayout" Target="../slideLayouts/slideLayout191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5" Type="http://schemas.openxmlformats.org/officeDocument/2006/relationships/theme" Target="../theme/theme1.xml"/><Relationship Id="rId190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274.xml"/><Relationship Id="rId4" Type="http://schemas.openxmlformats.org/officeDocument/2006/relationships/image" Target="../media/image45.jpeg"/></Relationships>
</file>

<file path=ppt/slideMasters/_rels/slideMaster1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91.xml"/><Relationship Id="rId21" Type="http://schemas.openxmlformats.org/officeDocument/2006/relationships/slideLayout" Target="../slideLayouts/slideLayout295.xml"/><Relationship Id="rId42" Type="http://schemas.openxmlformats.org/officeDocument/2006/relationships/slideLayout" Target="../slideLayouts/slideLayout316.xml"/><Relationship Id="rId63" Type="http://schemas.openxmlformats.org/officeDocument/2006/relationships/slideLayout" Target="../slideLayouts/slideLayout337.xml"/><Relationship Id="rId84" Type="http://schemas.openxmlformats.org/officeDocument/2006/relationships/slideLayout" Target="../slideLayouts/slideLayout358.xml"/><Relationship Id="rId138" Type="http://schemas.openxmlformats.org/officeDocument/2006/relationships/slideLayout" Target="../slideLayouts/slideLayout412.xml"/><Relationship Id="rId159" Type="http://schemas.openxmlformats.org/officeDocument/2006/relationships/slideLayout" Target="../slideLayouts/slideLayout433.xml"/><Relationship Id="rId107" Type="http://schemas.openxmlformats.org/officeDocument/2006/relationships/slideLayout" Target="../slideLayouts/slideLayout381.xml"/><Relationship Id="rId11" Type="http://schemas.openxmlformats.org/officeDocument/2006/relationships/slideLayout" Target="../slideLayouts/slideLayout285.xml"/><Relationship Id="rId32" Type="http://schemas.openxmlformats.org/officeDocument/2006/relationships/slideLayout" Target="../slideLayouts/slideLayout306.xml"/><Relationship Id="rId53" Type="http://schemas.openxmlformats.org/officeDocument/2006/relationships/slideLayout" Target="../slideLayouts/slideLayout327.xml"/><Relationship Id="rId74" Type="http://schemas.openxmlformats.org/officeDocument/2006/relationships/slideLayout" Target="../slideLayouts/slideLayout348.xml"/><Relationship Id="rId128" Type="http://schemas.openxmlformats.org/officeDocument/2006/relationships/slideLayout" Target="../slideLayouts/slideLayout402.xml"/><Relationship Id="rId149" Type="http://schemas.openxmlformats.org/officeDocument/2006/relationships/slideLayout" Target="../slideLayouts/slideLayout423.xml"/><Relationship Id="rId5" Type="http://schemas.openxmlformats.org/officeDocument/2006/relationships/slideLayout" Target="../slideLayouts/slideLayout279.xml"/><Relationship Id="rId95" Type="http://schemas.openxmlformats.org/officeDocument/2006/relationships/slideLayout" Target="../slideLayouts/slideLayout369.xml"/><Relationship Id="rId160" Type="http://schemas.openxmlformats.org/officeDocument/2006/relationships/slideLayout" Target="../slideLayouts/slideLayout434.xml"/><Relationship Id="rId22" Type="http://schemas.openxmlformats.org/officeDocument/2006/relationships/slideLayout" Target="../slideLayouts/slideLayout296.xml"/><Relationship Id="rId43" Type="http://schemas.openxmlformats.org/officeDocument/2006/relationships/slideLayout" Target="../slideLayouts/slideLayout317.xml"/><Relationship Id="rId64" Type="http://schemas.openxmlformats.org/officeDocument/2006/relationships/slideLayout" Target="../slideLayouts/slideLayout338.xml"/><Relationship Id="rId118" Type="http://schemas.openxmlformats.org/officeDocument/2006/relationships/slideLayout" Target="../slideLayouts/slideLayout392.xml"/><Relationship Id="rId139" Type="http://schemas.openxmlformats.org/officeDocument/2006/relationships/slideLayout" Target="../slideLayouts/slideLayout413.xml"/><Relationship Id="rId85" Type="http://schemas.openxmlformats.org/officeDocument/2006/relationships/slideLayout" Target="../slideLayouts/slideLayout359.xml"/><Relationship Id="rId150" Type="http://schemas.openxmlformats.org/officeDocument/2006/relationships/slideLayout" Target="../slideLayouts/slideLayout424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33" Type="http://schemas.openxmlformats.org/officeDocument/2006/relationships/slideLayout" Target="../slideLayouts/slideLayout307.xml"/><Relationship Id="rId38" Type="http://schemas.openxmlformats.org/officeDocument/2006/relationships/slideLayout" Target="../slideLayouts/slideLayout312.xml"/><Relationship Id="rId59" Type="http://schemas.openxmlformats.org/officeDocument/2006/relationships/slideLayout" Target="../slideLayouts/slideLayout333.xml"/><Relationship Id="rId103" Type="http://schemas.openxmlformats.org/officeDocument/2006/relationships/slideLayout" Target="../slideLayouts/slideLayout377.xml"/><Relationship Id="rId108" Type="http://schemas.openxmlformats.org/officeDocument/2006/relationships/slideLayout" Target="../slideLayouts/slideLayout382.xml"/><Relationship Id="rId124" Type="http://schemas.openxmlformats.org/officeDocument/2006/relationships/slideLayout" Target="../slideLayouts/slideLayout398.xml"/><Relationship Id="rId129" Type="http://schemas.openxmlformats.org/officeDocument/2006/relationships/slideLayout" Target="../slideLayouts/slideLayout403.xml"/><Relationship Id="rId54" Type="http://schemas.openxmlformats.org/officeDocument/2006/relationships/slideLayout" Target="../slideLayouts/slideLayout328.xml"/><Relationship Id="rId70" Type="http://schemas.openxmlformats.org/officeDocument/2006/relationships/slideLayout" Target="../slideLayouts/slideLayout344.xml"/><Relationship Id="rId75" Type="http://schemas.openxmlformats.org/officeDocument/2006/relationships/slideLayout" Target="../slideLayouts/slideLayout349.xml"/><Relationship Id="rId91" Type="http://schemas.openxmlformats.org/officeDocument/2006/relationships/slideLayout" Target="../slideLayouts/slideLayout365.xml"/><Relationship Id="rId96" Type="http://schemas.openxmlformats.org/officeDocument/2006/relationships/slideLayout" Target="../slideLayouts/slideLayout370.xml"/><Relationship Id="rId140" Type="http://schemas.openxmlformats.org/officeDocument/2006/relationships/slideLayout" Target="../slideLayouts/slideLayout414.xml"/><Relationship Id="rId145" Type="http://schemas.openxmlformats.org/officeDocument/2006/relationships/slideLayout" Target="../slideLayouts/slideLayout419.xml"/><Relationship Id="rId161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49" Type="http://schemas.openxmlformats.org/officeDocument/2006/relationships/slideLayout" Target="../slideLayouts/slideLayout323.xml"/><Relationship Id="rId114" Type="http://schemas.openxmlformats.org/officeDocument/2006/relationships/slideLayout" Target="../slideLayouts/slideLayout388.xml"/><Relationship Id="rId119" Type="http://schemas.openxmlformats.org/officeDocument/2006/relationships/slideLayout" Target="../slideLayouts/slideLayout393.xml"/><Relationship Id="rId44" Type="http://schemas.openxmlformats.org/officeDocument/2006/relationships/slideLayout" Target="../slideLayouts/slideLayout318.xml"/><Relationship Id="rId60" Type="http://schemas.openxmlformats.org/officeDocument/2006/relationships/slideLayout" Target="../slideLayouts/slideLayout334.xml"/><Relationship Id="rId65" Type="http://schemas.openxmlformats.org/officeDocument/2006/relationships/slideLayout" Target="../slideLayouts/slideLayout339.xml"/><Relationship Id="rId81" Type="http://schemas.openxmlformats.org/officeDocument/2006/relationships/slideLayout" Target="../slideLayouts/slideLayout355.xml"/><Relationship Id="rId86" Type="http://schemas.openxmlformats.org/officeDocument/2006/relationships/slideLayout" Target="../slideLayouts/slideLayout360.xml"/><Relationship Id="rId130" Type="http://schemas.openxmlformats.org/officeDocument/2006/relationships/slideLayout" Target="../slideLayouts/slideLayout404.xml"/><Relationship Id="rId135" Type="http://schemas.openxmlformats.org/officeDocument/2006/relationships/slideLayout" Target="../slideLayouts/slideLayout409.xml"/><Relationship Id="rId151" Type="http://schemas.openxmlformats.org/officeDocument/2006/relationships/slideLayout" Target="../slideLayouts/slideLayout425.xml"/><Relationship Id="rId156" Type="http://schemas.openxmlformats.org/officeDocument/2006/relationships/slideLayout" Target="../slideLayouts/slideLayout430.xml"/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39" Type="http://schemas.openxmlformats.org/officeDocument/2006/relationships/slideLayout" Target="../slideLayouts/slideLayout313.xml"/><Relationship Id="rId109" Type="http://schemas.openxmlformats.org/officeDocument/2006/relationships/slideLayout" Target="../slideLayouts/slideLayout383.xml"/><Relationship Id="rId34" Type="http://schemas.openxmlformats.org/officeDocument/2006/relationships/slideLayout" Target="../slideLayouts/slideLayout308.xml"/><Relationship Id="rId50" Type="http://schemas.openxmlformats.org/officeDocument/2006/relationships/slideLayout" Target="../slideLayouts/slideLayout324.xml"/><Relationship Id="rId55" Type="http://schemas.openxmlformats.org/officeDocument/2006/relationships/slideLayout" Target="../slideLayouts/slideLayout329.xml"/><Relationship Id="rId76" Type="http://schemas.openxmlformats.org/officeDocument/2006/relationships/slideLayout" Target="../slideLayouts/slideLayout350.xml"/><Relationship Id="rId97" Type="http://schemas.openxmlformats.org/officeDocument/2006/relationships/slideLayout" Target="../slideLayouts/slideLayout371.xml"/><Relationship Id="rId104" Type="http://schemas.openxmlformats.org/officeDocument/2006/relationships/slideLayout" Target="../slideLayouts/slideLayout378.xml"/><Relationship Id="rId120" Type="http://schemas.openxmlformats.org/officeDocument/2006/relationships/slideLayout" Target="../slideLayouts/slideLayout394.xml"/><Relationship Id="rId125" Type="http://schemas.openxmlformats.org/officeDocument/2006/relationships/slideLayout" Target="../slideLayouts/slideLayout399.xml"/><Relationship Id="rId141" Type="http://schemas.openxmlformats.org/officeDocument/2006/relationships/slideLayout" Target="../slideLayouts/slideLayout415.xml"/><Relationship Id="rId146" Type="http://schemas.openxmlformats.org/officeDocument/2006/relationships/slideLayout" Target="../slideLayouts/slideLayout420.xml"/><Relationship Id="rId7" Type="http://schemas.openxmlformats.org/officeDocument/2006/relationships/slideLayout" Target="../slideLayouts/slideLayout281.xml"/><Relationship Id="rId71" Type="http://schemas.openxmlformats.org/officeDocument/2006/relationships/slideLayout" Target="../slideLayouts/slideLayout345.xml"/><Relationship Id="rId92" Type="http://schemas.openxmlformats.org/officeDocument/2006/relationships/slideLayout" Target="../slideLayouts/slideLayout366.xml"/><Relationship Id="rId162" Type="http://schemas.openxmlformats.org/officeDocument/2006/relationships/slideLayout" Target="../slideLayouts/slideLayout436.xml"/><Relationship Id="rId2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303.xml"/><Relationship Id="rId24" Type="http://schemas.openxmlformats.org/officeDocument/2006/relationships/slideLayout" Target="../slideLayouts/slideLayout298.xml"/><Relationship Id="rId40" Type="http://schemas.openxmlformats.org/officeDocument/2006/relationships/slideLayout" Target="../slideLayouts/slideLayout314.xml"/><Relationship Id="rId45" Type="http://schemas.openxmlformats.org/officeDocument/2006/relationships/slideLayout" Target="../slideLayouts/slideLayout319.xml"/><Relationship Id="rId66" Type="http://schemas.openxmlformats.org/officeDocument/2006/relationships/slideLayout" Target="../slideLayouts/slideLayout340.xml"/><Relationship Id="rId87" Type="http://schemas.openxmlformats.org/officeDocument/2006/relationships/slideLayout" Target="../slideLayouts/slideLayout361.xml"/><Relationship Id="rId110" Type="http://schemas.openxmlformats.org/officeDocument/2006/relationships/slideLayout" Target="../slideLayouts/slideLayout384.xml"/><Relationship Id="rId115" Type="http://schemas.openxmlformats.org/officeDocument/2006/relationships/slideLayout" Target="../slideLayouts/slideLayout389.xml"/><Relationship Id="rId131" Type="http://schemas.openxmlformats.org/officeDocument/2006/relationships/slideLayout" Target="../slideLayouts/slideLayout405.xml"/><Relationship Id="rId136" Type="http://schemas.openxmlformats.org/officeDocument/2006/relationships/slideLayout" Target="../slideLayouts/slideLayout410.xml"/><Relationship Id="rId157" Type="http://schemas.openxmlformats.org/officeDocument/2006/relationships/slideLayout" Target="../slideLayouts/slideLayout431.xml"/><Relationship Id="rId61" Type="http://schemas.openxmlformats.org/officeDocument/2006/relationships/slideLayout" Target="../slideLayouts/slideLayout335.xml"/><Relationship Id="rId82" Type="http://schemas.openxmlformats.org/officeDocument/2006/relationships/slideLayout" Target="../slideLayouts/slideLayout356.xml"/><Relationship Id="rId152" Type="http://schemas.openxmlformats.org/officeDocument/2006/relationships/slideLayout" Target="../slideLayouts/slideLayout426.xml"/><Relationship Id="rId19" Type="http://schemas.openxmlformats.org/officeDocument/2006/relationships/slideLayout" Target="../slideLayouts/slideLayout293.xml"/><Relationship Id="rId14" Type="http://schemas.openxmlformats.org/officeDocument/2006/relationships/slideLayout" Target="../slideLayouts/slideLayout288.xml"/><Relationship Id="rId30" Type="http://schemas.openxmlformats.org/officeDocument/2006/relationships/slideLayout" Target="../slideLayouts/slideLayout304.xml"/><Relationship Id="rId35" Type="http://schemas.openxmlformats.org/officeDocument/2006/relationships/slideLayout" Target="../slideLayouts/slideLayout309.xml"/><Relationship Id="rId56" Type="http://schemas.openxmlformats.org/officeDocument/2006/relationships/slideLayout" Target="../slideLayouts/slideLayout330.xml"/><Relationship Id="rId77" Type="http://schemas.openxmlformats.org/officeDocument/2006/relationships/slideLayout" Target="../slideLayouts/slideLayout351.xml"/><Relationship Id="rId100" Type="http://schemas.openxmlformats.org/officeDocument/2006/relationships/slideLayout" Target="../slideLayouts/slideLayout374.xml"/><Relationship Id="rId105" Type="http://schemas.openxmlformats.org/officeDocument/2006/relationships/slideLayout" Target="../slideLayouts/slideLayout379.xml"/><Relationship Id="rId126" Type="http://schemas.openxmlformats.org/officeDocument/2006/relationships/slideLayout" Target="../slideLayouts/slideLayout400.xml"/><Relationship Id="rId147" Type="http://schemas.openxmlformats.org/officeDocument/2006/relationships/slideLayout" Target="../slideLayouts/slideLayout421.xml"/><Relationship Id="rId8" Type="http://schemas.openxmlformats.org/officeDocument/2006/relationships/slideLayout" Target="../slideLayouts/slideLayout282.xml"/><Relationship Id="rId51" Type="http://schemas.openxmlformats.org/officeDocument/2006/relationships/slideLayout" Target="../slideLayouts/slideLayout325.xml"/><Relationship Id="rId72" Type="http://schemas.openxmlformats.org/officeDocument/2006/relationships/slideLayout" Target="../slideLayouts/slideLayout346.xml"/><Relationship Id="rId93" Type="http://schemas.openxmlformats.org/officeDocument/2006/relationships/slideLayout" Target="../slideLayouts/slideLayout367.xml"/><Relationship Id="rId98" Type="http://schemas.openxmlformats.org/officeDocument/2006/relationships/slideLayout" Target="../slideLayouts/slideLayout372.xml"/><Relationship Id="rId121" Type="http://schemas.openxmlformats.org/officeDocument/2006/relationships/slideLayout" Target="../slideLayouts/slideLayout395.xml"/><Relationship Id="rId142" Type="http://schemas.openxmlformats.org/officeDocument/2006/relationships/slideLayout" Target="../slideLayouts/slideLayout416.xml"/><Relationship Id="rId163" Type="http://schemas.openxmlformats.org/officeDocument/2006/relationships/theme" Target="../theme/theme11.xml"/><Relationship Id="rId3" Type="http://schemas.openxmlformats.org/officeDocument/2006/relationships/slideLayout" Target="../slideLayouts/slideLayout277.xml"/><Relationship Id="rId25" Type="http://schemas.openxmlformats.org/officeDocument/2006/relationships/slideLayout" Target="../slideLayouts/slideLayout299.xml"/><Relationship Id="rId46" Type="http://schemas.openxmlformats.org/officeDocument/2006/relationships/slideLayout" Target="../slideLayouts/slideLayout320.xml"/><Relationship Id="rId67" Type="http://schemas.openxmlformats.org/officeDocument/2006/relationships/slideLayout" Target="../slideLayouts/slideLayout341.xml"/><Relationship Id="rId116" Type="http://schemas.openxmlformats.org/officeDocument/2006/relationships/slideLayout" Target="../slideLayouts/slideLayout390.xml"/><Relationship Id="rId137" Type="http://schemas.openxmlformats.org/officeDocument/2006/relationships/slideLayout" Target="../slideLayouts/slideLayout411.xml"/><Relationship Id="rId158" Type="http://schemas.openxmlformats.org/officeDocument/2006/relationships/slideLayout" Target="../slideLayouts/slideLayout432.xml"/><Relationship Id="rId20" Type="http://schemas.openxmlformats.org/officeDocument/2006/relationships/slideLayout" Target="../slideLayouts/slideLayout294.xml"/><Relationship Id="rId41" Type="http://schemas.openxmlformats.org/officeDocument/2006/relationships/slideLayout" Target="../slideLayouts/slideLayout315.xml"/><Relationship Id="rId62" Type="http://schemas.openxmlformats.org/officeDocument/2006/relationships/slideLayout" Target="../slideLayouts/slideLayout336.xml"/><Relationship Id="rId83" Type="http://schemas.openxmlformats.org/officeDocument/2006/relationships/slideLayout" Target="../slideLayouts/slideLayout357.xml"/><Relationship Id="rId88" Type="http://schemas.openxmlformats.org/officeDocument/2006/relationships/slideLayout" Target="../slideLayouts/slideLayout362.xml"/><Relationship Id="rId111" Type="http://schemas.openxmlformats.org/officeDocument/2006/relationships/slideLayout" Target="../slideLayouts/slideLayout385.xml"/><Relationship Id="rId132" Type="http://schemas.openxmlformats.org/officeDocument/2006/relationships/slideLayout" Target="../slideLayouts/slideLayout406.xml"/><Relationship Id="rId153" Type="http://schemas.openxmlformats.org/officeDocument/2006/relationships/slideLayout" Target="../slideLayouts/slideLayout427.xml"/><Relationship Id="rId15" Type="http://schemas.openxmlformats.org/officeDocument/2006/relationships/slideLayout" Target="../slideLayouts/slideLayout289.xml"/><Relationship Id="rId36" Type="http://schemas.openxmlformats.org/officeDocument/2006/relationships/slideLayout" Target="../slideLayouts/slideLayout310.xml"/><Relationship Id="rId57" Type="http://schemas.openxmlformats.org/officeDocument/2006/relationships/slideLayout" Target="../slideLayouts/slideLayout331.xml"/><Relationship Id="rId106" Type="http://schemas.openxmlformats.org/officeDocument/2006/relationships/slideLayout" Target="../slideLayouts/slideLayout380.xml"/><Relationship Id="rId127" Type="http://schemas.openxmlformats.org/officeDocument/2006/relationships/slideLayout" Target="../slideLayouts/slideLayout401.xml"/><Relationship Id="rId10" Type="http://schemas.openxmlformats.org/officeDocument/2006/relationships/slideLayout" Target="../slideLayouts/slideLayout284.xml"/><Relationship Id="rId31" Type="http://schemas.openxmlformats.org/officeDocument/2006/relationships/slideLayout" Target="../slideLayouts/slideLayout305.xml"/><Relationship Id="rId52" Type="http://schemas.openxmlformats.org/officeDocument/2006/relationships/slideLayout" Target="../slideLayouts/slideLayout326.xml"/><Relationship Id="rId73" Type="http://schemas.openxmlformats.org/officeDocument/2006/relationships/slideLayout" Target="../slideLayouts/slideLayout347.xml"/><Relationship Id="rId78" Type="http://schemas.openxmlformats.org/officeDocument/2006/relationships/slideLayout" Target="../slideLayouts/slideLayout352.xml"/><Relationship Id="rId94" Type="http://schemas.openxmlformats.org/officeDocument/2006/relationships/slideLayout" Target="../slideLayouts/slideLayout368.xml"/><Relationship Id="rId99" Type="http://schemas.openxmlformats.org/officeDocument/2006/relationships/slideLayout" Target="../slideLayouts/slideLayout373.xml"/><Relationship Id="rId101" Type="http://schemas.openxmlformats.org/officeDocument/2006/relationships/slideLayout" Target="../slideLayouts/slideLayout375.xml"/><Relationship Id="rId122" Type="http://schemas.openxmlformats.org/officeDocument/2006/relationships/slideLayout" Target="../slideLayouts/slideLayout396.xml"/><Relationship Id="rId143" Type="http://schemas.openxmlformats.org/officeDocument/2006/relationships/slideLayout" Target="../slideLayouts/slideLayout417.xml"/><Relationship Id="rId148" Type="http://schemas.openxmlformats.org/officeDocument/2006/relationships/slideLayout" Target="../slideLayouts/slideLayout422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26" Type="http://schemas.openxmlformats.org/officeDocument/2006/relationships/slideLayout" Target="../slideLayouts/slideLayout300.xml"/><Relationship Id="rId47" Type="http://schemas.openxmlformats.org/officeDocument/2006/relationships/slideLayout" Target="../slideLayouts/slideLayout321.xml"/><Relationship Id="rId68" Type="http://schemas.openxmlformats.org/officeDocument/2006/relationships/slideLayout" Target="../slideLayouts/slideLayout342.xml"/><Relationship Id="rId89" Type="http://schemas.openxmlformats.org/officeDocument/2006/relationships/slideLayout" Target="../slideLayouts/slideLayout363.xml"/><Relationship Id="rId112" Type="http://schemas.openxmlformats.org/officeDocument/2006/relationships/slideLayout" Target="../slideLayouts/slideLayout386.xml"/><Relationship Id="rId133" Type="http://schemas.openxmlformats.org/officeDocument/2006/relationships/slideLayout" Target="../slideLayouts/slideLayout407.xml"/><Relationship Id="rId154" Type="http://schemas.openxmlformats.org/officeDocument/2006/relationships/slideLayout" Target="../slideLayouts/slideLayout428.xml"/><Relationship Id="rId16" Type="http://schemas.openxmlformats.org/officeDocument/2006/relationships/slideLayout" Target="../slideLayouts/slideLayout290.xml"/><Relationship Id="rId37" Type="http://schemas.openxmlformats.org/officeDocument/2006/relationships/slideLayout" Target="../slideLayouts/slideLayout311.xml"/><Relationship Id="rId58" Type="http://schemas.openxmlformats.org/officeDocument/2006/relationships/slideLayout" Target="../slideLayouts/slideLayout332.xml"/><Relationship Id="rId79" Type="http://schemas.openxmlformats.org/officeDocument/2006/relationships/slideLayout" Target="../slideLayouts/slideLayout353.xml"/><Relationship Id="rId102" Type="http://schemas.openxmlformats.org/officeDocument/2006/relationships/slideLayout" Target="../slideLayouts/slideLayout376.xml"/><Relationship Id="rId123" Type="http://schemas.openxmlformats.org/officeDocument/2006/relationships/slideLayout" Target="../slideLayouts/slideLayout397.xml"/><Relationship Id="rId144" Type="http://schemas.openxmlformats.org/officeDocument/2006/relationships/slideLayout" Target="../slideLayouts/slideLayout418.xml"/><Relationship Id="rId90" Type="http://schemas.openxmlformats.org/officeDocument/2006/relationships/slideLayout" Target="../slideLayouts/slideLayout364.xml"/><Relationship Id="rId27" Type="http://schemas.openxmlformats.org/officeDocument/2006/relationships/slideLayout" Target="../slideLayouts/slideLayout301.xml"/><Relationship Id="rId48" Type="http://schemas.openxmlformats.org/officeDocument/2006/relationships/slideLayout" Target="../slideLayouts/slideLayout322.xml"/><Relationship Id="rId69" Type="http://schemas.openxmlformats.org/officeDocument/2006/relationships/slideLayout" Target="../slideLayouts/slideLayout343.xml"/><Relationship Id="rId113" Type="http://schemas.openxmlformats.org/officeDocument/2006/relationships/slideLayout" Target="../slideLayouts/slideLayout387.xml"/><Relationship Id="rId134" Type="http://schemas.openxmlformats.org/officeDocument/2006/relationships/slideLayout" Target="../slideLayouts/slideLayout408.xml"/><Relationship Id="rId80" Type="http://schemas.openxmlformats.org/officeDocument/2006/relationships/slideLayout" Target="../slideLayouts/slideLayout354.xml"/><Relationship Id="rId155" Type="http://schemas.openxmlformats.org/officeDocument/2006/relationships/slideLayout" Target="../slideLayouts/slideLayout4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4.xml"/><Relationship Id="rId3" Type="http://schemas.openxmlformats.org/officeDocument/2006/relationships/slideLayout" Target="../slideLayouts/slideLayout439.xml"/><Relationship Id="rId7" Type="http://schemas.openxmlformats.org/officeDocument/2006/relationships/slideLayout" Target="../slideLayouts/slideLayout443.xml"/><Relationship Id="rId2" Type="http://schemas.openxmlformats.org/officeDocument/2006/relationships/slideLayout" Target="../slideLayouts/slideLayout438.xml"/><Relationship Id="rId1" Type="http://schemas.openxmlformats.org/officeDocument/2006/relationships/slideLayout" Target="../slideLayouts/slideLayout437.xml"/><Relationship Id="rId6" Type="http://schemas.openxmlformats.org/officeDocument/2006/relationships/slideLayout" Target="../slideLayouts/slideLayout442.xml"/><Relationship Id="rId5" Type="http://schemas.openxmlformats.org/officeDocument/2006/relationships/slideLayout" Target="../slideLayouts/slideLayout441.xml"/><Relationship Id="rId4" Type="http://schemas.openxmlformats.org/officeDocument/2006/relationships/slideLayout" Target="../slideLayouts/slideLayout440.xml"/><Relationship Id="rId9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2.xml"/><Relationship Id="rId13" Type="http://schemas.openxmlformats.org/officeDocument/2006/relationships/slideLayout" Target="../slideLayouts/slideLayout457.xml"/><Relationship Id="rId18" Type="http://schemas.openxmlformats.org/officeDocument/2006/relationships/slideLayout" Target="../slideLayouts/slideLayout462.xml"/><Relationship Id="rId3" Type="http://schemas.openxmlformats.org/officeDocument/2006/relationships/slideLayout" Target="../slideLayouts/slideLayout447.xml"/><Relationship Id="rId7" Type="http://schemas.openxmlformats.org/officeDocument/2006/relationships/slideLayout" Target="../slideLayouts/slideLayout451.xml"/><Relationship Id="rId12" Type="http://schemas.openxmlformats.org/officeDocument/2006/relationships/slideLayout" Target="../slideLayouts/slideLayout456.xml"/><Relationship Id="rId17" Type="http://schemas.openxmlformats.org/officeDocument/2006/relationships/slideLayout" Target="../slideLayouts/slideLayout461.xml"/><Relationship Id="rId2" Type="http://schemas.openxmlformats.org/officeDocument/2006/relationships/slideLayout" Target="../slideLayouts/slideLayout446.xml"/><Relationship Id="rId16" Type="http://schemas.openxmlformats.org/officeDocument/2006/relationships/slideLayout" Target="../slideLayouts/slideLayout460.xml"/><Relationship Id="rId1" Type="http://schemas.openxmlformats.org/officeDocument/2006/relationships/slideLayout" Target="../slideLayouts/slideLayout445.xml"/><Relationship Id="rId6" Type="http://schemas.openxmlformats.org/officeDocument/2006/relationships/slideLayout" Target="../slideLayouts/slideLayout450.xml"/><Relationship Id="rId11" Type="http://schemas.openxmlformats.org/officeDocument/2006/relationships/slideLayout" Target="../slideLayouts/slideLayout455.xml"/><Relationship Id="rId5" Type="http://schemas.openxmlformats.org/officeDocument/2006/relationships/slideLayout" Target="../slideLayouts/slideLayout449.xml"/><Relationship Id="rId15" Type="http://schemas.openxmlformats.org/officeDocument/2006/relationships/slideLayout" Target="../slideLayouts/slideLayout459.xml"/><Relationship Id="rId10" Type="http://schemas.openxmlformats.org/officeDocument/2006/relationships/slideLayout" Target="../slideLayouts/slideLayout454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448.xml"/><Relationship Id="rId9" Type="http://schemas.openxmlformats.org/officeDocument/2006/relationships/slideLayout" Target="../slideLayouts/slideLayout453.xml"/><Relationship Id="rId14" Type="http://schemas.openxmlformats.org/officeDocument/2006/relationships/slideLayout" Target="../slideLayouts/slideLayout458.xml"/></Relationships>
</file>

<file path=ppt/slideMasters/_rels/slideMaster1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579.xml"/><Relationship Id="rId21" Type="http://schemas.openxmlformats.org/officeDocument/2006/relationships/slideLayout" Target="../slideLayouts/slideLayout483.xml"/><Relationship Id="rId42" Type="http://schemas.openxmlformats.org/officeDocument/2006/relationships/slideLayout" Target="../slideLayouts/slideLayout504.xml"/><Relationship Id="rId63" Type="http://schemas.openxmlformats.org/officeDocument/2006/relationships/slideLayout" Target="../slideLayouts/slideLayout525.xml"/><Relationship Id="rId84" Type="http://schemas.openxmlformats.org/officeDocument/2006/relationships/slideLayout" Target="../slideLayouts/slideLayout546.xml"/><Relationship Id="rId138" Type="http://schemas.openxmlformats.org/officeDocument/2006/relationships/slideLayout" Target="../slideLayouts/slideLayout600.xml"/><Relationship Id="rId159" Type="http://schemas.openxmlformats.org/officeDocument/2006/relationships/slideLayout" Target="../slideLayouts/slideLayout621.xml"/><Relationship Id="rId107" Type="http://schemas.openxmlformats.org/officeDocument/2006/relationships/slideLayout" Target="../slideLayouts/slideLayout569.xml"/><Relationship Id="rId11" Type="http://schemas.openxmlformats.org/officeDocument/2006/relationships/slideLayout" Target="../slideLayouts/slideLayout473.xml"/><Relationship Id="rId32" Type="http://schemas.openxmlformats.org/officeDocument/2006/relationships/slideLayout" Target="../slideLayouts/slideLayout494.xml"/><Relationship Id="rId53" Type="http://schemas.openxmlformats.org/officeDocument/2006/relationships/slideLayout" Target="../slideLayouts/slideLayout515.xml"/><Relationship Id="rId74" Type="http://schemas.openxmlformats.org/officeDocument/2006/relationships/slideLayout" Target="../slideLayouts/slideLayout536.xml"/><Relationship Id="rId128" Type="http://schemas.openxmlformats.org/officeDocument/2006/relationships/slideLayout" Target="../slideLayouts/slideLayout590.xml"/><Relationship Id="rId149" Type="http://schemas.openxmlformats.org/officeDocument/2006/relationships/slideLayout" Target="../slideLayouts/slideLayout611.xml"/><Relationship Id="rId5" Type="http://schemas.openxmlformats.org/officeDocument/2006/relationships/slideLayout" Target="../slideLayouts/slideLayout467.xml"/><Relationship Id="rId95" Type="http://schemas.openxmlformats.org/officeDocument/2006/relationships/slideLayout" Target="../slideLayouts/slideLayout557.xml"/><Relationship Id="rId160" Type="http://schemas.openxmlformats.org/officeDocument/2006/relationships/slideLayout" Target="../slideLayouts/slideLayout622.xml"/><Relationship Id="rId22" Type="http://schemas.openxmlformats.org/officeDocument/2006/relationships/slideLayout" Target="../slideLayouts/slideLayout484.xml"/><Relationship Id="rId43" Type="http://schemas.openxmlformats.org/officeDocument/2006/relationships/slideLayout" Target="../slideLayouts/slideLayout505.xml"/><Relationship Id="rId64" Type="http://schemas.openxmlformats.org/officeDocument/2006/relationships/slideLayout" Target="../slideLayouts/slideLayout526.xml"/><Relationship Id="rId118" Type="http://schemas.openxmlformats.org/officeDocument/2006/relationships/slideLayout" Target="../slideLayouts/slideLayout580.xml"/><Relationship Id="rId139" Type="http://schemas.openxmlformats.org/officeDocument/2006/relationships/slideLayout" Target="../slideLayouts/slideLayout601.xml"/><Relationship Id="rId85" Type="http://schemas.openxmlformats.org/officeDocument/2006/relationships/slideLayout" Target="../slideLayouts/slideLayout547.xml"/><Relationship Id="rId150" Type="http://schemas.openxmlformats.org/officeDocument/2006/relationships/slideLayout" Target="../slideLayouts/slideLayout612.xml"/><Relationship Id="rId12" Type="http://schemas.openxmlformats.org/officeDocument/2006/relationships/slideLayout" Target="../slideLayouts/slideLayout474.xml"/><Relationship Id="rId17" Type="http://schemas.openxmlformats.org/officeDocument/2006/relationships/slideLayout" Target="../slideLayouts/slideLayout479.xml"/><Relationship Id="rId33" Type="http://schemas.openxmlformats.org/officeDocument/2006/relationships/slideLayout" Target="../slideLayouts/slideLayout495.xml"/><Relationship Id="rId38" Type="http://schemas.openxmlformats.org/officeDocument/2006/relationships/slideLayout" Target="../slideLayouts/slideLayout500.xml"/><Relationship Id="rId59" Type="http://schemas.openxmlformats.org/officeDocument/2006/relationships/slideLayout" Target="../slideLayouts/slideLayout521.xml"/><Relationship Id="rId103" Type="http://schemas.openxmlformats.org/officeDocument/2006/relationships/slideLayout" Target="../slideLayouts/slideLayout565.xml"/><Relationship Id="rId108" Type="http://schemas.openxmlformats.org/officeDocument/2006/relationships/slideLayout" Target="../slideLayouts/slideLayout570.xml"/><Relationship Id="rId124" Type="http://schemas.openxmlformats.org/officeDocument/2006/relationships/slideLayout" Target="../slideLayouts/slideLayout586.xml"/><Relationship Id="rId129" Type="http://schemas.openxmlformats.org/officeDocument/2006/relationships/slideLayout" Target="../slideLayouts/slideLayout591.xml"/><Relationship Id="rId54" Type="http://schemas.openxmlformats.org/officeDocument/2006/relationships/slideLayout" Target="../slideLayouts/slideLayout516.xml"/><Relationship Id="rId70" Type="http://schemas.openxmlformats.org/officeDocument/2006/relationships/slideLayout" Target="../slideLayouts/slideLayout532.xml"/><Relationship Id="rId75" Type="http://schemas.openxmlformats.org/officeDocument/2006/relationships/slideLayout" Target="../slideLayouts/slideLayout537.xml"/><Relationship Id="rId91" Type="http://schemas.openxmlformats.org/officeDocument/2006/relationships/slideLayout" Target="../slideLayouts/slideLayout553.xml"/><Relationship Id="rId96" Type="http://schemas.openxmlformats.org/officeDocument/2006/relationships/slideLayout" Target="../slideLayouts/slideLayout558.xml"/><Relationship Id="rId140" Type="http://schemas.openxmlformats.org/officeDocument/2006/relationships/slideLayout" Target="../slideLayouts/slideLayout602.xml"/><Relationship Id="rId145" Type="http://schemas.openxmlformats.org/officeDocument/2006/relationships/slideLayout" Target="../slideLayouts/slideLayout607.xml"/><Relationship Id="rId161" Type="http://schemas.openxmlformats.org/officeDocument/2006/relationships/slideLayout" Target="../slideLayouts/slideLayout623.xml"/><Relationship Id="rId166" Type="http://schemas.openxmlformats.org/officeDocument/2006/relationships/theme" Target="../theme/theme14.xml"/><Relationship Id="rId1" Type="http://schemas.openxmlformats.org/officeDocument/2006/relationships/slideLayout" Target="../slideLayouts/slideLayout463.xml"/><Relationship Id="rId6" Type="http://schemas.openxmlformats.org/officeDocument/2006/relationships/slideLayout" Target="../slideLayouts/slideLayout468.xml"/><Relationship Id="rId23" Type="http://schemas.openxmlformats.org/officeDocument/2006/relationships/slideLayout" Target="../slideLayouts/slideLayout485.xml"/><Relationship Id="rId28" Type="http://schemas.openxmlformats.org/officeDocument/2006/relationships/slideLayout" Target="../slideLayouts/slideLayout490.xml"/><Relationship Id="rId49" Type="http://schemas.openxmlformats.org/officeDocument/2006/relationships/slideLayout" Target="../slideLayouts/slideLayout511.xml"/><Relationship Id="rId114" Type="http://schemas.openxmlformats.org/officeDocument/2006/relationships/slideLayout" Target="../slideLayouts/slideLayout576.xml"/><Relationship Id="rId119" Type="http://schemas.openxmlformats.org/officeDocument/2006/relationships/slideLayout" Target="../slideLayouts/slideLayout581.xml"/><Relationship Id="rId44" Type="http://schemas.openxmlformats.org/officeDocument/2006/relationships/slideLayout" Target="../slideLayouts/slideLayout506.xml"/><Relationship Id="rId60" Type="http://schemas.openxmlformats.org/officeDocument/2006/relationships/slideLayout" Target="../slideLayouts/slideLayout522.xml"/><Relationship Id="rId65" Type="http://schemas.openxmlformats.org/officeDocument/2006/relationships/slideLayout" Target="../slideLayouts/slideLayout527.xml"/><Relationship Id="rId81" Type="http://schemas.openxmlformats.org/officeDocument/2006/relationships/slideLayout" Target="../slideLayouts/slideLayout543.xml"/><Relationship Id="rId86" Type="http://schemas.openxmlformats.org/officeDocument/2006/relationships/slideLayout" Target="../slideLayouts/slideLayout548.xml"/><Relationship Id="rId130" Type="http://schemas.openxmlformats.org/officeDocument/2006/relationships/slideLayout" Target="../slideLayouts/slideLayout592.xml"/><Relationship Id="rId135" Type="http://schemas.openxmlformats.org/officeDocument/2006/relationships/slideLayout" Target="../slideLayouts/slideLayout597.xml"/><Relationship Id="rId151" Type="http://schemas.openxmlformats.org/officeDocument/2006/relationships/slideLayout" Target="../slideLayouts/slideLayout613.xml"/><Relationship Id="rId156" Type="http://schemas.openxmlformats.org/officeDocument/2006/relationships/slideLayout" Target="../slideLayouts/slideLayout618.xml"/><Relationship Id="rId13" Type="http://schemas.openxmlformats.org/officeDocument/2006/relationships/slideLayout" Target="../slideLayouts/slideLayout475.xml"/><Relationship Id="rId18" Type="http://schemas.openxmlformats.org/officeDocument/2006/relationships/slideLayout" Target="../slideLayouts/slideLayout480.xml"/><Relationship Id="rId39" Type="http://schemas.openxmlformats.org/officeDocument/2006/relationships/slideLayout" Target="../slideLayouts/slideLayout501.xml"/><Relationship Id="rId109" Type="http://schemas.openxmlformats.org/officeDocument/2006/relationships/slideLayout" Target="../slideLayouts/slideLayout571.xml"/><Relationship Id="rId34" Type="http://schemas.openxmlformats.org/officeDocument/2006/relationships/slideLayout" Target="../slideLayouts/slideLayout496.xml"/><Relationship Id="rId50" Type="http://schemas.openxmlformats.org/officeDocument/2006/relationships/slideLayout" Target="../slideLayouts/slideLayout512.xml"/><Relationship Id="rId55" Type="http://schemas.openxmlformats.org/officeDocument/2006/relationships/slideLayout" Target="../slideLayouts/slideLayout517.xml"/><Relationship Id="rId76" Type="http://schemas.openxmlformats.org/officeDocument/2006/relationships/slideLayout" Target="../slideLayouts/slideLayout538.xml"/><Relationship Id="rId97" Type="http://schemas.openxmlformats.org/officeDocument/2006/relationships/slideLayout" Target="../slideLayouts/slideLayout559.xml"/><Relationship Id="rId104" Type="http://schemas.openxmlformats.org/officeDocument/2006/relationships/slideLayout" Target="../slideLayouts/slideLayout566.xml"/><Relationship Id="rId120" Type="http://schemas.openxmlformats.org/officeDocument/2006/relationships/slideLayout" Target="../slideLayouts/slideLayout582.xml"/><Relationship Id="rId125" Type="http://schemas.openxmlformats.org/officeDocument/2006/relationships/slideLayout" Target="../slideLayouts/slideLayout587.xml"/><Relationship Id="rId141" Type="http://schemas.openxmlformats.org/officeDocument/2006/relationships/slideLayout" Target="../slideLayouts/slideLayout603.xml"/><Relationship Id="rId146" Type="http://schemas.openxmlformats.org/officeDocument/2006/relationships/slideLayout" Target="../slideLayouts/slideLayout608.xml"/><Relationship Id="rId7" Type="http://schemas.openxmlformats.org/officeDocument/2006/relationships/slideLayout" Target="../slideLayouts/slideLayout469.xml"/><Relationship Id="rId71" Type="http://schemas.openxmlformats.org/officeDocument/2006/relationships/slideLayout" Target="../slideLayouts/slideLayout533.xml"/><Relationship Id="rId92" Type="http://schemas.openxmlformats.org/officeDocument/2006/relationships/slideLayout" Target="../slideLayouts/slideLayout554.xml"/><Relationship Id="rId162" Type="http://schemas.openxmlformats.org/officeDocument/2006/relationships/slideLayout" Target="../slideLayouts/slideLayout624.xml"/><Relationship Id="rId2" Type="http://schemas.openxmlformats.org/officeDocument/2006/relationships/slideLayout" Target="../slideLayouts/slideLayout464.xml"/><Relationship Id="rId29" Type="http://schemas.openxmlformats.org/officeDocument/2006/relationships/slideLayout" Target="../slideLayouts/slideLayout491.xml"/><Relationship Id="rId24" Type="http://schemas.openxmlformats.org/officeDocument/2006/relationships/slideLayout" Target="../slideLayouts/slideLayout486.xml"/><Relationship Id="rId40" Type="http://schemas.openxmlformats.org/officeDocument/2006/relationships/slideLayout" Target="../slideLayouts/slideLayout502.xml"/><Relationship Id="rId45" Type="http://schemas.openxmlformats.org/officeDocument/2006/relationships/slideLayout" Target="../slideLayouts/slideLayout507.xml"/><Relationship Id="rId66" Type="http://schemas.openxmlformats.org/officeDocument/2006/relationships/slideLayout" Target="../slideLayouts/slideLayout528.xml"/><Relationship Id="rId87" Type="http://schemas.openxmlformats.org/officeDocument/2006/relationships/slideLayout" Target="../slideLayouts/slideLayout549.xml"/><Relationship Id="rId110" Type="http://schemas.openxmlformats.org/officeDocument/2006/relationships/slideLayout" Target="../slideLayouts/slideLayout572.xml"/><Relationship Id="rId115" Type="http://schemas.openxmlformats.org/officeDocument/2006/relationships/slideLayout" Target="../slideLayouts/slideLayout577.xml"/><Relationship Id="rId131" Type="http://schemas.openxmlformats.org/officeDocument/2006/relationships/slideLayout" Target="../slideLayouts/slideLayout593.xml"/><Relationship Id="rId136" Type="http://schemas.openxmlformats.org/officeDocument/2006/relationships/slideLayout" Target="../slideLayouts/slideLayout598.xml"/><Relationship Id="rId157" Type="http://schemas.openxmlformats.org/officeDocument/2006/relationships/slideLayout" Target="../slideLayouts/slideLayout619.xml"/><Relationship Id="rId61" Type="http://schemas.openxmlformats.org/officeDocument/2006/relationships/slideLayout" Target="../slideLayouts/slideLayout523.xml"/><Relationship Id="rId82" Type="http://schemas.openxmlformats.org/officeDocument/2006/relationships/slideLayout" Target="../slideLayouts/slideLayout544.xml"/><Relationship Id="rId152" Type="http://schemas.openxmlformats.org/officeDocument/2006/relationships/slideLayout" Target="../slideLayouts/slideLayout614.xml"/><Relationship Id="rId19" Type="http://schemas.openxmlformats.org/officeDocument/2006/relationships/slideLayout" Target="../slideLayouts/slideLayout481.xml"/><Relationship Id="rId14" Type="http://schemas.openxmlformats.org/officeDocument/2006/relationships/slideLayout" Target="../slideLayouts/slideLayout476.xml"/><Relationship Id="rId30" Type="http://schemas.openxmlformats.org/officeDocument/2006/relationships/slideLayout" Target="../slideLayouts/slideLayout492.xml"/><Relationship Id="rId35" Type="http://schemas.openxmlformats.org/officeDocument/2006/relationships/slideLayout" Target="../slideLayouts/slideLayout497.xml"/><Relationship Id="rId56" Type="http://schemas.openxmlformats.org/officeDocument/2006/relationships/slideLayout" Target="../slideLayouts/slideLayout518.xml"/><Relationship Id="rId77" Type="http://schemas.openxmlformats.org/officeDocument/2006/relationships/slideLayout" Target="../slideLayouts/slideLayout539.xml"/><Relationship Id="rId100" Type="http://schemas.openxmlformats.org/officeDocument/2006/relationships/slideLayout" Target="../slideLayouts/slideLayout562.xml"/><Relationship Id="rId105" Type="http://schemas.openxmlformats.org/officeDocument/2006/relationships/slideLayout" Target="../slideLayouts/slideLayout567.xml"/><Relationship Id="rId126" Type="http://schemas.openxmlformats.org/officeDocument/2006/relationships/slideLayout" Target="../slideLayouts/slideLayout588.xml"/><Relationship Id="rId147" Type="http://schemas.openxmlformats.org/officeDocument/2006/relationships/slideLayout" Target="../slideLayouts/slideLayout609.xml"/><Relationship Id="rId8" Type="http://schemas.openxmlformats.org/officeDocument/2006/relationships/slideLayout" Target="../slideLayouts/slideLayout470.xml"/><Relationship Id="rId51" Type="http://schemas.openxmlformats.org/officeDocument/2006/relationships/slideLayout" Target="../slideLayouts/slideLayout513.xml"/><Relationship Id="rId72" Type="http://schemas.openxmlformats.org/officeDocument/2006/relationships/slideLayout" Target="../slideLayouts/slideLayout534.xml"/><Relationship Id="rId93" Type="http://schemas.openxmlformats.org/officeDocument/2006/relationships/slideLayout" Target="../slideLayouts/slideLayout555.xml"/><Relationship Id="rId98" Type="http://schemas.openxmlformats.org/officeDocument/2006/relationships/slideLayout" Target="../slideLayouts/slideLayout560.xml"/><Relationship Id="rId121" Type="http://schemas.openxmlformats.org/officeDocument/2006/relationships/slideLayout" Target="../slideLayouts/slideLayout583.xml"/><Relationship Id="rId142" Type="http://schemas.openxmlformats.org/officeDocument/2006/relationships/slideLayout" Target="../slideLayouts/slideLayout604.xml"/><Relationship Id="rId163" Type="http://schemas.openxmlformats.org/officeDocument/2006/relationships/slideLayout" Target="../slideLayouts/slideLayout625.xml"/><Relationship Id="rId3" Type="http://schemas.openxmlformats.org/officeDocument/2006/relationships/slideLayout" Target="../slideLayouts/slideLayout465.xml"/><Relationship Id="rId25" Type="http://schemas.openxmlformats.org/officeDocument/2006/relationships/slideLayout" Target="../slideLayouts/slideLayout487.xml"/><Relationship Id="rId46" Type="http://schemas.openxmlformats.org/officeDocument/2006/relationships/slideLayout" Target="../slideLayouts/slideLayout508.xml"/><Relationship Id="rId67" Type="http://schemas.openxmlformats.org/officeDocument/2006/relationships/slideLayout" Target="../slideLayouts/slideLayout529.xml"/><Relationship Id="rId116" Type="http://schemas.openxmlformats.org/officeDocument/2006/relationships/slideLayout" Target="../slideLayouts/slideLayout578.xml"/><Relationship Id="rId137" Type="http://schemas.openxmlformats.org/officeDocument/2006/relationships/slideLayout" Target="../slideLayouts/slideLayout599.xml"/><Relationship Id="rId158" Type="http://schemas.openxmlformats.org/officeDocument/2006/relationships/slideLayout" Target="../slideLayouts/slideLayout620.xml"/><Relationship Id="rId20" Type="http://schemas.openxmlformats.org/officeDocument/2006/relationships/slideLayout" Target="../slideLayouts/slideLayout482.xml"/><Relationship Id="rId41" Type="http://schemas.openxmlformats.org/officeDocument/2006/relationships/slideLayout" Target="../slideLayouts/slideLayout503.xml"/><Relationship Id="rId62" Type="http://schemas.openxmlformats.org/officeDocument/2006/relationships/slideLayout" Target="../slideLayouts/slideLayout524.xml"/><Relationship Id="rId83" Type="http://schemas.openxmlformats.org/officeDocument/2006/relationships/slideLayout" Target="../slideLayouts/slideLayout545.xml"/><Relationship Id="rId88" Type="http://schemas.openxmlformats.org/officeDocument/2006/relationships/slideLayout" Target="../slideLayouts/slideLayout550.xml"/><Relationship Id="rId111" Type="http://schemas.openxmlformats.org/officeDocument/2006/relationships/slideLayout" Target="../slideLayouts/slideLayout573.xml"/><Relationship Id="rId132" Type="http://schemas.openxmlformats.org/officeDocument/2006/relationships/slideLayout" Target="../slideLayouts/slideLayout594.xml"/><Relationship Id="rId153" Type="http://schemas.openxmlformats.org/officeDocument/2006/relationships/slideLayout" Target="../slideLayouts/slideLayout615.xml"/><Relationship Id="rId15" Type="http://schemas.openxmlformats.org/officeDocument/2006/relationships/slideLayout" Target="../slideLayouts/slideLayout477.xml"/><Relationship Id="rId36" Type="http://schemas.openxmlformats.org/officeDocument/2006/relationships/slideLayout" Target="../slideLayouts/slideLayout498.xml"/><Relationship Id="rId57" Type="http://schemas.openxmlformats.org/officeDocument/2006/relationships/slideLayout" Target="../slideLayouts/slideLayout519.xml"/><Relationship Id="rId106" Type="http://schemas.openxmlformats.org/officeDocument/2006/relationships/slideLayout" Target="../slideLayouts/slideLayout568.xml"/><Relationship Id="rId127" Type="http://schemas.openxmlformats.org/officeDocument/2006/relationships/slideLayout" Target="../slideLayouts/slideLayout589.xml"/><Relationship Id="rId10" Type="http://schemas.openxmlformats.org/officeDocument/2006/relationships/slideLayout" Target="../slideLayouts/slideLayout472.xml"/><Relationship Id="rId31" Type="http://schemas.openxmlformats.org/officeDocument/2006/relationships/slideLayout" Target="../slideLayouts/slideLayout493.xml"/><Relationship Id="rId52" Type="http://schemas.openxmlformats.org/officeDocument/2006/relationships/slideLayout" Target="../slideLayouts/slideLayout514.xml"/><Relationship Id="rId73" Type="http://schemas.openxmlformats.org/officeDocument/2006/relationships/slideLayout" Target="../slideLayouts/slideLayout535.xml"/><Relationship Id="rId78" Type="http://schemas.openxmlformats.org/officeDocument/2006/relationships/slideLayout" Target="../slideLayouts/slideLayout540.xml"/><Relationship Id="rId94" Type="http://schemas.openxmlformats.org/officeDocument/2006/relationships/slideLayout" Target="../slideLayouts/slideLayout556.xml"/><Relationship Id="rId99" Type="http://schemas.openxmlformats.org/officeDocument/2006/relationships/slideLayout" Target="../slideLayouts/slideLayout561.xml"/><Relationship Id="rId101" Type="http://schemas.openxmlformats.org/officeDocument/2006/relationships/slideLayout" Target="../slideLayouts/slideLayout563.xml"/><Relationship Id="rId122" Type="http://schemas.openxmlformats.org/officeDocument/2006/relationships/slideLayout" Target="../slideLayouts/slideLayout584.xml"/><Relationship Id="rId143" Type="http://schemas.openxmlformats.org/officeDocument/2006/relationships/slideLayout" Target="../slideLayouts/slideLayout605.xml"/><Relationship Id="rId148" Type="http://schemas.openxmlformats.org/officeDocument/2006/relationships/slideLayout" Target="../slideLayouts/slideLayout610.xml"/><Relationship Id="rId164" Type="http://schemas.openxmlformats.org/officeDocument/2006/relationships/slideLayout" Target="../slideLayouts/slideLayout626.xml"/><Relationship Id="rId4" Type="http://schemas.openxmlformats.org/officeDocument/2006/relationships/slideLayout" Target="../slideLayouts/slideLayout466.xml"/><Relationship Id="rId9" Type="http://schemas.openxmlformats.org/officeDocument/2006/relationships/slideLayout" Target="../slideLayouts/slideLayout471.xml"/><Relationship Id="rId26" Type="http://schemas.openxmlformats.org/officeDocument/2006/relationships/slideLayout" Target="../slideLayouts/slideLayout488.xml"/><Relationship Id="rId47" Type="http://schemas.openxmlformats.org/officeDocument/2006/relationships/slideLayout" Target="../slideLayouts/slideLayout509.xml"/><Relationship Id="rId68" Type="http://schemas.openxmlformats.org/officeDocument/2006/relationships/slideLayout" Target="../slideLayouts/slideLayout530.xml"/><Relationship Id="rId89" Type="http://schemas.openxmlformats.org/officeDocument/2006/relationships/slideLayout" Target="../slideLayouts/slideLayout551.xml"/><Relationship Id="rId112" Type="http://schemas.openxmlformats.org/officeDocument/2006/relationships/slideLayout" Target="../slideLayouts/slideLayout574.xml"/><Relationship Id="rId133" Type="http://schemas.openxmlformats.org/officeDocument/2006/relationships/slideLayout" Target="../slideLayouts/slideLayout595.xml"/><Relationship Id="rId154" Type="http://schemas.openxmlformats.org/officeDocument/2006/relationships/slideLayout" Target="../slideLayouts/slideLayout616.xml"/><Relationship Id="rId16" Type="http://schemas.openxmlformats.org/officeDocument/2006/relationships/slideLayout" Target="../slideLayouts/slideLayout478.xml"/><Relationship Id="rId37" Type="http://schemas.openxmlformats.org/officeDocument/2006/relationships/slideLayout" Target="../slideLayouts/slideLayout499.xml"/><Relationship Id="rId58" Type="http://schemas.openxmlformats.org/officeDocument/2006/relationships/slideLayout" Target="../slideLayouts/slideLayout520.xml"/><Relationship Id="rId79" Type="http://schemas.openxmlformats.org/officeDocument/2006/relationships/slideLayout" Target="../slideLayouts/slideLayout541.xml"/><Relationship Id="rId102" Type="http://schemas.openxmlformats.org/officeDocument/2006/relationships/slideLayout" Target="../slideLayouts/slideLayout564.xml"/><Relationship Id="rId123" Type="http://schemas.openxmlformats.org/officeDocument/2006/relationships/slideLayout" Target="../slideLayouts/slideLayout585.xml"/><Relationship Id="rId144" Type="http://schemas.openxmlformats.org/officeDocument/2006/relationships/slideLayout" Target="../slideLayouts/slideLayout606.xml"/><Relationship Id="rId90" Type="http://schemas.openxmlformats.org/officeDocument/2006/relationships/slideLayout" Target="../slideLayouts/slideLayout552.xml"/><Relationship Id="rId165" Type="http://schemas.openxmlformats.org/officeDocument/2006/relationships/slideLayout" Target="../slideLayouts/slideLayout627.xml"/><Relationship Id="rId27" Type="http://schemas.openxmlformats.org/officeDocument/2006/relationships/slideLayout" Target="../slideLayouts/slideLayout489.xml"/><Relationship Id="rId48" Type="http://schemas.openxmlformats.org/officeDocument/2006/relationships/slideLayout" Target="../slideLayouts/slideLayout510.xml"/><Relationship Id="rId69" Type="http://schemas.openxmlformats.org/officeDocument/2006/relationships/slideLayout" Target="../slideLayouts/slideLayout531.xml"/><Relationship Id="rId113" Type="http://schemas.openxmlformats.org/officeDocument/2006/relationships/slideLayout" Target="../slideLayouts/slideLayout575.xml"/><Relationship Id="rId134" Type="http://schemas.openxmlformats.org/officeDocument/2006/relationships/slideLayout" Target="../slideLayouts/slideLayout596.xml"/><Relationship Id="rId80" Type="http://schemas.openxmlformats.org/officeDocument/2006/relationships/slideLayout" Target="../slideLayouts/slideLayout542.xml"/><Relationship Id="rId155" Type="http://schemas.openxmlformats.org/officeDocument/2006/relationships/slideLayout" Target="../slideLayouts/slideLayout617.xml"/></Relationships>
</file>

<file path=ppt/slideMasters/_rels/slideMaster1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744.xml"/><Relationship Id="rId21" Type="http://schemas.openxmlformats.org/officeDocument/2006/relationships/slideLayout" Target="../slideLayouts/slideLayout648.xml"/><Relationship Id="rId42" Type="http://schemas.openxmlformats.org/officeDocument/2006/relationships/slideLayout" Target="../slideLayouts/slideLayout669.xml"/><Relationship Id="rId63" Type="http://schemas.openxmlformats.org/officeDocument/2006/relationships/slideLayout" Target="../slideLayouts/slideLayout690.xml"/><Relationship Id="rId84" Type="http://schemas.openxmlformats.org/officeDocument/2006/relationships/slideLayout" Target="../slideLayouts/slideLayout711.xml"/><Relationship Id="rId138" Type="http://schemas.openxmlformats.org/officeDocument/2006/relationships/slideLayout" Target="../slideLayouts/slideLayout765.xml"/><Relationship Id="rId159" Type="http://schemas.openxmlformats.org/officeDocument/2006/relationships/slideLayout" Target="../slideLayouts/slideLayout786.xml"/><Relationship Id="rId107" Type="http://schemas.openxmlformats.org/officeDocument/2006/relationships/slideLayout" Target="../slideLayouts/slideLayout734.xml"/><Relationship Id="rId11" Type="http://schemas.openxmlformats.org/officeDocument/2006/relationships/slideLayout" Target="../slideLayouts/slideLayout638.xml"/><Relationship Id="rId32" Type="http://schemas.openxmlformats.org/officeDocument/2006/relationships/slideLayout" Target="../slideLayouts/slideLayout659.xml"/><Relationship Id="rId53" Type="http://schemas.openxmlformats.org/officeDocument/2006/relationships/slideLayout" Target="../slideLayouts/slideLayout680.xml"/><Relationship Id="rId74" Type="http://schemas.openxmlformats.org/officeDocument/2006/relationships/slideLayout" Target="../slideLayouts/slideLayout701.xml"/><Relationship Id="rId128" Type="http://schemas.openxmlformats.org/officeDocument/2006/relationships/slideLayout" Target="../slideLayouts/slideLayout755.xml"/><Relationship Id="rId149" Type="http://schemas.openxmlformats.org/officeDocument/2006/relationships/slideLayout" Target="../slideLayouts/slideLayout776.xml"/><Relationship Id="rId5" Type="http://schemas.openxmlformats.org/officeDocument/2006/relationships/slideLayout" Target="../slideLayouts/slideLayout632.xml"/><Relationship Id="rId95" Type="http://schemas.openxmlformats.org/officeDocument/2006/relationships/slideLayout" Target="../slideLayouts/slideLayout722.xml"/><Relationship Id="rId160" Type="http://schemas.openxmlformats.org/officeDocument/2006/relationships/slideLayout" Target="../slideLayouts/slideLayout787.xml"/><Relationship Id="rId22" Type="http://schemas.openxmlformats.org/officeDocument/2006/relationships/slideLayout" Target="../slideLayouts/slideLayout649.xml"/><Relationship Id="rId43" Type="http://schemas.openxmlformats.org/officeDocument/2006/relationships/slideLayout" Target="../slideLayouts/slideLayout670.xml"/><Relationship Id="rId64" Type="http://schemas.openxmlformats.org/officeDocument/2006/relationships/slideLayout" Target="../slideLayouts/slideLayout691.xml"/><Relationship Id="rId118" Type="http://schemas.openxmlformats.org/officeDocument/2006/relationships/slideLayout" Target="../slideLayouts/slideLayout745.xml"/><Relationship Id="rId139" Type="http://schemas.openxmlformats.org/officeDocument/2006/relationships/slideLayout" Target="../slideLayouts/slideLayout766.xml"/><Relationship Id="rId85" Type="http://schemas.openxmlformats.org/officeDocument/2006/relationships/slideLayout" Target="../slideLayouts/slideLayout712.xml"/><Relationship Id="rId150" Type="http://schemas.openxmlformats.org/officeDocument/2006/relationships/slideLayout" Target="../slideLayouts/slideLayout777.xml"/><Relationship Id="rId12" Type="http://schemas.openxmlformats.org/officeDocument/2006/relationships/slideLayout" Target="../slideLayouts/slideLayout639.xml"/><Relationship Id="rId17" Type="http://schemas.openxmlformats.org/officeDocument/2006/relationships/slideLayout" Target="../slideLayouts/slideLayout644.xml"/><Relationship Id="rId33" Type="http://schemas.openxmlformats.org/officeDocument/2006/relationships/slideLayout" Target="../slideLayouts/slideLayout660.xml"/><Relationship Id="rId38" Type="http://schemas.openxmlformats.org/officeDocument/2006/relationships/slideLayout" Target="../slideLayouts/slideLayout665.xml"/><Relationship Id="rId59" Type="http://schemas.openxmlformats.org/officeDocument/2006/relationships/slideLayout" Target="../slideLayouts/slideLayout686.xml"/><Relationship Id="rId103" Type="http://schemas.openxmlformats.org/officeDocument/2006/relationships/slideLayout" Target="../slideLayouts/slideLayout730.xml"/><Relationship Id="rId108" Type="http://schemas.openxmlformats.org/officeDocument/2006/relationships/slideLayout" Target="../slideLayouts/slideLayout735.xml"/><Relationship Id="rId124" Type="http://schemas.openxmlformats.org/officeDocument/2006/relationships/slideLayout" Target="../slideLayouts/slideLayout751.xml"/><Relationship Id="rId129" Type="http://schemas.openxmlformats.org/officeDocument/2006/relationships/slideLayout" Target="../slideLayouts/slideLayout756.xml"/><Relationship Id="rId54" Type="http://schemas.openxmlformats.org/officeDocument/2006/relationships/slideLayout" Target="../slideLayouts/slideLayout681.xml"/><Relationship Id="rId70" Type="http://schemas.openxmlformats.org/officeDocument/2006/relationships/slideLayout" Target="../slideLayouts/slideLayout697.xml"/><Relationship Id="rId75" Type="http://schemas.openxmlformats.org/officeDocument/2006/relationships/slideLayout" Target="../slideLayouts/slideLayout702.xml"/><Relationship Id="rId91" Type="http://schemas.openxmlformats.org/officeDocument/2006/relationships/slideLayout" Target="../slideLayouts/slideLayout718.xml"/><Relationship Id="rId96" Type="http://schemas.openxmlformats.org/officeDocument/2006/relationships/slideLayout" Target="../slideLayouts/slideLayout723.xml"/><Relationship Id="rId140" Type="http://schemas.openxmlformats.org/officeDocument/2006/relationships/slideLayout" Target="../slideLayouts/slideLayout767.xml"/><Relationship Id="rId145" Type="http://schemas.openxmlformats.org/officeDocument/2006/relationships/slideLayout" Target="../slideLayouts/slideLayout772.xml"/><Relationship Id="rId161" Type="http://schemas.openxmlformats.org/officeDocument/2006/relationships/slideLayout" Target="../slideLayouts/slideLayout788.xml"/><Relationship Id="rId166" Type="http://schemas.openxmlformats.org/officeDocument/2006/relationships/theme" Target="../theme/theme15.xml"/><Relationship Id="rId1" Type="http://schemas.openxmlformats.org/officeDocument/2006/relationships/slideLayout" Target="../slideLayouts/slideLayout628.xml"/><Relationship Id="rId6" Type="http://schemas.openxmlformats.org/officeDocument/2006/relationships/slideLayout" Target="../slideLayouts/slideLayout633.xml"/><Relationship Id="rId23" Type="http://schemas.openxmlformats.org/officeDocument/2006/relationships/slideLayout" Target="../slideLayouts/slideLayout650.xml"/><Relationship Id="rId28" Type="http://schemas.openxmlformats.org/officeDocument/2006/relationships/slideLayout" Target="../slideLayouts/slideLayout655.xml"/><Relationship Id="rId49" Type="http://schemas.openxmlformats.org/officeDocument/2006/relationships/slideLayout" Target="../slideLayouts/slideLayout676.xml"/><Relationship Id="rId114" Type="http://schemas.openxmlformats.org/officeDocument/2006/relationships/slideLayout" Target="../slideLayouts/slideLayout741.xml"/><Relationship Id="rId119" Type="http://schemas.openxmlformats.org/officeDocument/2006/relationships/slideLayout" Target="../slideLayouts/slideLayout746.xml"/><Relationship Id="rId44" Type="http://schemas.openxmlformats.org/officeDocument/2006/relationships/slideLayout" Target="../slideLayouts/slideLayout671.xml"/><Relationship Id="rId60" Type="http://schemas.openxmlformats.org/officeDocument/2006/relationships/slideLayout" Target="../slideLayouts/slideLayout687.xml"/><Relationship Id="rId65" Type="http://schemas.openxmlformats.org/officeDocument/2006/relationships/slideLayout" Target="../slideLayouts/slideLayout692.xml"/><Relationship Id="rId81" Type="http://schemas.openxmlformats.org/officeDocument/2006/relationships/slideLayout" Target="../slideLayouts/slideLayout708.xml"/><Relationship Id="rId86" Type="http://schemas.openxmlformats.org/officeDocument/2006/relationships/slideLayout" Target="../slideLayouts/slideLayout713.xml"/><Relationship Id="rId130" Type="http://schemas.openxmlformats.org/officeDocument/2006/relationships/slideLayout" Target="../slideLayouts/slideLayout757.xml"/><Relationship Id="rId135" Type="http://schemas.openxmlformats.org/officeDocument/2006/relationships/slideLayout" Target="../slideLayouts/slideLayout762.xml"/><Relationship Id="rId151" Type="http://schemas.openxmlformats.org/officeDocument/2006/relationships/slideLayout" Target="../slideLayouts/slideLayout778.xml"/><Relationship Id="rId156" Type="http://schemas.openxmlformats.org/officeDocument/2006/relationships/slideLayout" Target="../slideLayouts/slideLayout783.xml"/><Relationship Id="rId13" Type="http://schemas.openxmlformats.org/officeDocument/2006/relationships/slideLayout" Target="../slideLayouts/slideLayout640.xml"/><Relationship Id="rId18" Type="http://schemas.openxmlformats.org/officeDocument/2006/relationships/slideLayout" Target="../slideLayouts/slideLayout645.xml"/><Relationship Id="rId39" Type="http://schemas.openxmlformats.org/officeDocument/2006/relationships/slideLayout" Target="../slideLayouts/slideLayout666.xml"/><Relationship Id="rId109" Type="http://schemas.openxmlformats.org/officeDocument/2006/relationships/slideLayout" Target="../slideLayouts/slideLayout736.xml"/><Relationship Id="rId34" Type="http://schemas.openxmlformats.org/officeDocument/2006/relationships/slideLayout" Target="../slideLayouts/slideLayout661.xml"/><Relationship Id="rId50" Type="http://schemas.openxmlformats.org/officeDocument/2006/relationships/slideLayout" Target="../slideLayouts/slideLayout677.xml"/><Relationship Id="rId55" Type="http://schemas.openxmlformats.org/officeDocument/2006/relationships/slideLayout" Target="../slideLayouts/slideLayout682.xml"/><Relationship Id="rId76" Type="http://schemas.openxmlformats.org/officeDocument/2006/relationships/slideLayout" Target="../slideLayouts/slideLayout703.xml"/><Relationship Id="rId97" Type="http://schemas.openxmlformats.org/officeDocument/2006/relationships/slideLayout" Target="../slideLayouts/slideLayout724.xml"/><Relationship Id="rId104" Type="http://schemas.openxmlformats.org/officeDocument/2006/relationships/slideLayout" Target="../slideLayouts/slideLayout731.xml"/><Relationship Id="rId120" Type="http://schemas.openxmlformats.org/officeDocument/2006/relationships/slideLayout" Target="../slideLayouts/slideLayout747.xml"/><Relationship Id="rId125" Type="http://schemas.openxmlformats.org/officeDocument/2006/relationships/slideLayout" Target="../slideLayouts/slideLayout752.xml"/><Relationship Id="rId141" Type="http://schemas.openxmlformats.org/officeDocument/2006/relationships/slideLayout" Target="../slideLayouts/slideLayout768.xml"/><Relationship Id="rId146" Type="http://schemas.openxmlformats.org/officeDocument/2006/relationships/slideLayout" Target="../slideLayouts/slideLayout773.xml"/><Relationship Id="rId7" Type="http://schemas.openxmlformats.org/officeDocument/2006/relationships/slideLayout" Target="../slideLayouts/slideLayout634.xml"/><Relationship Id="rId71" Type="http://schemas.openxmlformats.org/officeDocument/2006/relationships/slideLayout" Target="../slideLayouts/slideLayout698.xml"/><Relationship Id="rId92" Type="http://schemas.openxmlformats.org/officeDocument/2006/relationships/slideLayout" Target="../slideLayouts/slideLayout719.xml"/><Relationship Id="rId162" Type="http://schemas.openxmlformats.org/officeDocument/2006/relationships/slideLayout" Target="../slideLayouts/slideLayout789.xml"/><Relationship Id="rId2" Type="http://schemas.openxmlformats.org/officeDocument/2006/relationships/slideLayout" Target="../slideLayouts/slideLayout629.xml"/><Relationship Id="rId29" Type="http://schemas.openxmlformats.org/officeDocument/2006/relationships/slideLayout" Target="../slideLayouts/slideLayout656.xml"/><Relationship Id="rId24" Type="http://schemas.openxmlformats.org/officeDocument/2006/relationships/slideLayout" Target="../slideLayouts/slideLayout651.xml"/><Relationship Id="rId40" Type="http://schemas.openxmlformats.org/officeDocument/2006/relationships/slideLayout" Target="../slideLayouts/slideLayout667.xml"/><Relationship Id="rId45" Type="http://schemas.openxmlformats.org/officeDocument/2006/relationships/slideLayout" Target="../slideLayouts/slideLayout672.xml"/><Relationship Id="rId66" Type="http://schemas.openxmlformats.org/officeDocument/2006/relationships/slideLayout" Target="../slideLayouts/slideLayout693.xml"/><Relationship Id="rId87" Type="http://schemas.openxmlformats.org/officeDocument/2006/relationships/slideLayout" Target="../slideLayouts/slideLayout714.xml"/><Relationship Id="rId110" Type="http://schemas.openxmlformats.org/officeDocument/2006/relationships/slideLayout" Target="../slideLayouts/slideLayout737.xml"/><Relationship Id="rId115" Type="http://schemas.openxmlformats.org/officeDocument/2006/relationships/slideLayout" Target="../slideLayouts/slideLayout742.xml"/><Relationship Id="rId131" Type="http://schemas.openxmlformats.org/officeDocument/2006/relationships/slideLayout" Target="../slideLayouts/slideLayout758.xml"/><Relationship Id="rId136" Type="http://schemas.openxmlformats.org/officeDocument/2006/relationships/slideLayout" Target="../slideLayouts/slideLayout763.xml"/><Relationship Id="rId157" Type="http://schemas.openxmlformats.org/officeDocument/2006/relationships/slideLayout" Target="../slideLayouts/slideLayout784.xml"/><Relationship Id="rId61" Type="http://schemas.openxmlformats.org/officeDocument/2006/relationships/slideLayout" Target="../slideLayouts/slideLayout688.xml"/><Relationship Id="rId82" Type="http://schemas.openxmlformats.org/officeDocument/2006/relationships/slideLayout" Target="../slideLayouts/slideLayout709.xml"/><Relationship Id="rId152" Type="http://schemas.openxmlformats.org/officeDocument/2006/relationships/slideLayout" Target="../slideLayouts/slideLayout779.xml"/><Relationship Id="rId19" Type="http://schemas.openxmlformats.org/officeDocument/2006/relationships/slideLayout" Target="../slideLayouts/slideLayout646.xml"/><Relationship Id="rId14" Type="http://schemas.openxmlformats.org/officeDocument/2006/relationships/slideLayout" Target="../slideLayouts/slideLayout641.xml"/><Relationship Id="rId30" Type="http://schemas.openxmlformats.org/officeDocument/2006/relationships/slideLayout" Target="../slideLayouts/slideLayout657.xml"/><Relationship Id="rId35" Type="http://schemas.openxmlformats.org/officeDocument/2006/relationships/slideLayout" Target="../slideLayouts/slideLayout662.xml"/><Relationship Id="rId56" Type="http://schemas.openxmlformats.org/officeDocument/2006/relationships/slideLayout" Target="../slideLayouts/slideLayout683.xml"/><Relationship Id="rId77" Type="http://schemas.openxmlformats.org/officeDocument/2006/relationships/slideLayout" Target="../slideLayouts/slideLayout704.xml"/><Relationship Id="rId100" Type="http://schemas.openxmlformats.org/officeDocument/2006/relationships/slideLayout" Target="../slideLayouts/slideLayout727.xml"/><Relationship Id="rId105" Type="http://schemas.openxmlformats.org/officeDocument/2006/relationships/slideLayout" Target="../slideLayouts/slideLayout732.xml"/><Relationship Id="rId126" Type="http://schemas.openxmlformats.org/officeDocument/2006/relationships/slideLayout" Target="../slideLayouts/slideLayout753.xml"/><Relationship Id="rId147" Type="http://schemas.openxmlformats.org/officeDocument/2006/relationships/slideLayout" Target="../slideLayouts/slideLayout774.xml"/><Relationship Id="rId8" Type="http://schemas.openxmlformats.org/officeDocument/2006/relationships/slideLayout" Target="../slideLayouts/slideLayout635.xml"/><Relationship Id="rId51" Type="http://schemas.openxmlformats.org/officeDocument/2006/relationships/slideLayout" Target="../slideLayouts/slideLayout678.xml"/><Relationship Id="rId72" Type="http://schemas.openxmlformats.org/officeDocument/2006/relationships/slideLayout" Target="../slideLayouts/slideLayout699.xml"/><Relationship Id="rId93" Type="http://schemas.openxmlformats.org/officeDocument/2006/relationships/slideLayout" Target="../slideLayouts/slideLayout720.xml"/><Relationship Id="rId98" Type="http://schemas.openxmlformats.org/officeDocument/2006/relationships/slideLayout" Target="../slideLayouts/slideLayout725.xml"/><Relationship Id="rId121" Type="http://schemas.openxmlformats.org/officeDocument/2006/relationships/slideLayout" Target="../slideLayouts/slideLayout748.xml"/><Relationship Id="rId142" Type="http://schemas.openxmlformats.org/officeDocument/2006/relationships/slideLayout" Target="../slideLayouts/slideLayout769.xml"/><Relationship Id="rId163" Type="http://schemas.openxmlformats.org/officeDocument/2006/relationships/slideLayout" Target="../slideLayouts/slideLayout790.xml"/><Relationship Id="rId3" Type="http://schemas.openxmlformats.org/officeDocument/2006/relationships/slideLayout" Target="../slideLayouts/slideLayout630.xml"/><Relationship Id="rId25" Type="http://schemas.openxmlformats.org/officeDocument/2006/relationships/slideLayout" Target="../slideLayouts/slideLayout652.xml"/><Relationship Id="rId46" Type="http://schemas.openxmlformats.org/officeDocument/2006/relationships/slideLayout" Target="../slideLayouts/slideLayout673.xml"/><Relationship Id="rId67" Type="http://schemas.openxmlformats.org/officeDocument/2006/relationships/slideLayout" Target="../slideLayouts/slideLayout694.xml"/><Relationship Id="rId116" Type="http://schemas.openxmlformats.org/officeDocument/2006/relationships/slideLayout" Target="../slideLayouts/slideLayout743.xml"/><Relationship Id="rId137" Type="http://schemas.openxmlformats.org/officeDocument/2006/relationships/slideLayout" Target="../slideLayouts/slideLayout764.xml"/><Relationship Id="rId158" Type="http://schemas.openxmlformats.org/officeDocument/2006/relationships/slideLayout" Target="../slideLayouts/slideLayout785.xml"/><Relationship Id="rId20" Type="http://schemas.openxmlformats.org/officeDocument/2006/relationships/slideLayout" Target="../slideLayouts/slideLayout647.xml"/><Relationship Id="rId41" Type="http://schemas.openxmlformats.org/officeDocument/2006/relationships/slideLayout" Target="../slideLayouts/slideLayout668.xml"/><Relationship Id="rId62" Type="http://schemas.openxmlformats.org/officeDocument/2006/relationships/slideLayout" Target="../slideLayouts/slideLayout689.xml"/><Relationship Id="rId83" Type="http://schemas.openxmlformats.org/officeDocument/2006/relationships/slideLayout" Target="../slideLayouts/slideLayout710.xml"/><Relationship Id="rId88" Type="http://schemas.openxmlformats.org/officeDocument/2006/relationships/slideLayout" Target="../slideLayouts/slideLayout715.xml"/><Relationship Id="rId111" Type="http://schemas.openxmlformats.org/officeDocument/2006/relationships/slideLayout" Target="../slideLayouts/slideLayout738.xml"/><Relationship Id="rId132" Type="http://schemas.openxmlformats.org/officeDocument/2006/relationships/slideLayout" Target="../slideLayouts/slideLayout759.xml"/><Relationship Id="rId153" Type="http://schemas.openxmlformats.org/officeDocument/2006/relationships/slideLayout" Target="../slideLayouts/slideLayout780.xml"/><Relationship Id="rId15" Type="http://schemas.openxmlformats.org/officeDocument/2006/relationships/slideLayout" Target="../slideLayouts/slideLayout642.xml"/><Relationship Id="rId36" Type="http://schemas.openxmlformats.org/officeDocument/2006/relationships/slideLayout" Target="../slideLayouts/slideLayout663.xml"/><Relationship Id="rId57" Type="http://schemas.openxmlformats.org/officeDocument/2006/relationships/slideLayout" Target="../slideLayouts/slideLayout684.xml"/><Relationship Id="rId106" Type="http://schemas.openxmlformats.org/officeDocument/2006/relationships/slideLayout" Target="../slideLayouts/slideLayout733.xml"/><Relationship Id="rId127" Type="http://schemas.openxmlformats.org/officeDocument/2006/relationships/slideLayout" Target="../slideLayouts/slideLayout754.xml"/><Relationship Id="rId10" Type="http://schemas.openxmlformats.org/officeDocument/2006/relationships/slideLayout" Target="../slideLayouts/slideLayout637.xml"/><Relationship Id="rId31" Type="http://schemas.openxmlformats.org/officeDocument/2006/relationships/slideLayout" Target="../slideLayouts/slideLayout658.xml"/><Relationship Id="rId52" Type="http://schemas.openxmlformats.org/officeDocument/2006/relationships/slideLayout" Target="../slideLayouts/slideLayout679.xml"/><Relationship Id="rId73" Type="http://schemas.openxmlformats.org/officeDocument/2006/relationships/slideLayout" Target="../slideLayouts/slideLayout700.xml"/><Relationship Id="rId78" Type="http://schemas.openxmlformats.org/officeDocument/2006/relationships/slideLayout" Target="../slideLayouts/slideLayout705.xml"/><Relationship Id="rId94" Type="http://schemas.openxmlformats.org/officeDocument/2006/relationships/slideLayout" Target="../slideLayouts/slideLayout721.xml"/><Relationship Id="rId99" Type="http://schemas.openxmlformats.org/officeDocument/2006/relationships/slideLayout" Target="../slideLayouts/slideLayout726.xml"/><Relationship Id="rId101" Type="http://schemas.openxmlformats.org/officeDocument/2006/relationships/slideLayout" Target="../slideLayouts/slideLayout728.xml"/><Relationship Id="rId122" Type="http://schemas.openxmlformats.org/officeDocument/2006/relationships/slideLayout" Target="../slideLayouts/slideLayout749.xml"/><Relationship Id="rId143" Type="http://schemas.openxmlformats.org/officeDocument/2006/relationships/slideLayout" Target="../slideLayouts/slideLayout770.xml"/><Relationship Id="rId148" Type="http://schemas.openxmlformats.org/officeDocument/2006/relationships/slideLayout" Target="../slideLayouts/slideLayout775.xml"/><Relationship Id="rId164" Type="http://schemas.openxmlformats.org/officeDocument/2006/relationships/slideLayout" Target="../slideLayouts/slideLayout791.xml"/><Relationship Id="rId4" Type="http://schemas.openxmlformats.org/officeDocument/2006/relationships/slideLayout" Target="../slideLayouts/slideLayout631.xml"/><Relationship Id="rId9" Type="http://schemas.openxmlformats.org/officeDocument/2006/relationships/slideLayout" Target="../slideLayouts/slideLayout636.xml"/><Relationship Id="rId26" Type="http://schemas.openxmlformats.org/officeDocument/2006/relationships/slideLayout" Target="../slideLayouts/slideLayout653.xml"/><Relationship Id="rId47" Type="http://schemas.openxmlformats.org/officeDocument/2006/relationships/slideLayout" Target="../slideLayouts/slideLayout674.xml"/><Relationship Id="rId68" Type="http://schemas.openxmlformats.org/officeDocument/2006/relationships/slideLayout" Target="../slideLayouts/slideLayout695.xml"/><Relationship Id="rId89" Type="http://schemas.openxmlformats.org/officeDocument/2006/relationships/slideLayout" Target="../slideLayouts/slideLayout716.xml"/><Relationship Id="rId112" Type="http://schemas.openxmlformats.org/officeDocument/2006/relationships/slideLayout" Target="../slideLayouts/slideLayout739.xml"/><Relationship Id="rId133" Type="http://schemas.openxmlformats.org/officeDocument/2006/relationships/slideLayout" Target="../slideLayouts/slideLayout760.xml"/><Relationship Id="rId154" Type="http://schemas.openxmlformats.org/officeDocument/2006/relationships/slideLayout" Target="../slideLayouts/slideLayout781.xml"/><Relationship Id="rId16" Type="http://schemas.openxmlformats.org/officeDocument/2006/relationships/slideLayout" Target="../slideLayouts/slideLayout643.xml"/><Relationship Id="rId37" Type="http://schemas.openxmlformats.org/officeDocument/2006/relationships/slideLayout" Target="../slideLayouts/slideLayout664.xml"/><Relationship Id="rId58" Type="http://schemas.openxmlformats.org/officeDocument/2006/relationships/slideLayout" Target="../slideLayouts/slideLayout685.xml"/><Relationship Id="rId79" Type="http://schemas.openxmlformats.org/officeDocument/2006/relationships/slideLayout" Target="../slideLayouts/slideLayout706.xml"/><Relationship Id="rId102" Type="http://schemas.openxmlformats.org/officeDocument/2006/relationships/slideLayout" Target="../slideLayouts/slideLayout729.xml"/><Relationship Id="rId123" Type="http://schemas.openxmlformats.org/officeDocument/2006/relationships/slideLayout" Target="../slideLayouts/slideLayout750.xml"/><Relationship Id="rId144" Type="http://schemas.openxmlformats.org/officeDocument/2006/relationships/slideLayout" Target="../slideLayouts/slideLayout771.xml"/><Relationship Id="rId90" Type="http://schemas.openxmlformats.org/officeDocument/2006/relationships/slideLayout" Target="../slideLayouts/slideLayout717.xml"/><Relationship Id="rId165" Type="http://schemas.openxmlformats.org/officeDocument/2006/relationships/slideLayout" Target="../slideLayouts/slideLayout792.xml"/><Relationship Id="rId27" Type="http://schemas.openxmlformats.org/officeDocument/2006/relationships/slideLayout" Target="../slideLayouts/slideLayout654.xml"/><Relationship Id="rId48" Type="http://schemas.openxmlformats.org/officeDocument/2006/relationships/slideLayout" Target="../slideLayouts/slideLayout675.xml"/><Relationship Id="rId69" Type="http://schemas.openxmlformats.org/officeDocument/2006/relationships/slideLayout" Target="../slideLayouts/slideLayout696.xml"/><Relationship Id="rId113" Type="http://schemas.openxmlformats.org/officeDocument/2006/relationships/slideLayout" Target="../slideLayouts/slideLayout740.xml"/><Relationship Id="rId134" Type="http://schemas.openxmlformats.org/officeDocument/2006/relationships/slideLayout" Target="../slideLayouts/slideLayout761.xml"/><Relationship Id="rId80" Type="http://schemas.openxmlformats.org/officeDocument/2006/relationships/slideLayout" Target="../slideLayouts/slideLayout707.xml"/><Relationship Id="rId155" Type="http://schemas.openxmlformats.org/officeDocument/2006/relationships/slideLayout" Target="../slideLayouts/slideLayout782.xml"/></Relationships>
</file>

<file path=ppt/slideMasters/_rels/slideMaster16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909.xml"/><Relationship Id="rId21" Type="http://schemas.openxmlformats.org/officeDocument/2006/relationships/slideLayout" Target="../slideLayouts/slideLayout813.xml"/><Relationship Id="rId42" Type="http://schemas.openxmlformats.org/officeDocument/2006/relationships/slideLayout" Target="../slideLayouts/slideLayout834.xml"/><Relationship Id="rId63" Type="http://schemas.openxmlformats.org/officeDocument/2006/relationships/slideLayout" Target="../slideLayouts/slideLayout855.xml"/><Relationship Id="rId84" Type="http://schemas.openxmlformats.org/officeDocument/2006/relationships/slideLayout" Target="../slideLayouts/slideLayout876.xml"/><Relationship Id="rId138" Type="http://schemas.openxmlformats.org/officeDocument/2006/relationships/slideLayout" Target="../slideLayouts/slideLayout930.xml"/><Relationship Id="rId159" Type="http://schemas.openxmlformats.org/officeDocument/2006/relationships/slideLayout" Target="../slideLayouts/slideLayout951.xml"/><Relationship Id="rId170" Type="http://schemas.openxmlformats.org/officeDocument/2006/relationships/slideLayout" Target="../slideLayouts/slideLayout962.xml"/><Relationship Id="rId191" Type="http://schemas.openxmlformats.org/officeDocument/2006/relationships/slideLayout" Target="../slideLayouts/slideLayout983.xml"/><Relationship Id="rId107" Type="http://schemas.openxmlformats.org/officeDocument/2006/relationships/slideLayout" Target="../slideLayouts/slideLayout899.xml"/><Relationship Id="rId11" Type="http://schemas.openxmlformats.org/officeDocument/2006/relationships/slideLayout" Target="../slideLayouts/slideLayout803.xml"/><Relationship Id="rId32" Type="http://schemas.openxmlformats.org/officeDocument/2006/relationships/slideLayout" Target="../slideLayouts/slideLayout824.xml"/><Relationship Id="rId53" Type="http://schemas.openxmlformats.org/officeDocument/2006/relationships/slideLayout" Target="../slideLayouts/slideLayout845.xml"/><Relationship Id="rId74" Type="http://schemas.openxmlformats.org/officeDocument/2006/relationships/slideLayout" Target="../slideLayouts/slideLayout866.xml"/><Relationship Id="rId128" Type="http://schemas.openxmlformats.org/officeDocument/2006/relationships/slideLayout" Target="../slideLayouts/slideLayout920.xml"/><Relationship Id="rId149" Type="http://schemas.openxmlformats.org/officeDocument/2006/relationships/slideLayout" Target="../slideLayouts/slideLayout941.xml"/><Relationship Id="rId5" Type="http://schemas.openxmlformats.org/officeDocument/2006/relationships/slideLayout" Target="../slideLayouts/slideLayout797.xml"/><Relationship Id="rId95" Type="http://schemas.openxmlformats.org/officeDocument/2006/relationships/slideLayout" Target="../slideLayouts/slideLayout887.xml"/><Relationship Id="rId160" Type="http://schemas.openxmlformats.org/officeDocument/2006/relationships/slideLayout" Target="../slideLayouts/slideLayout952.xml"/><Relationship Id="rId181" Type="http://schemas.openxmlformats.org/officeDocument/2006/relationships/slideLayout" Target="../slideLayouts/slideLayout973.xml"/><Relationship Id="rId22" Type="http://schemas.openxmlformats.org/officeDocument/2006/relationships/slideLayout" Target="../slideLayouts/slideLayout814.xml"/><Relationship Id="rId43" Type="http://schemas.openxmlformats.org/officeDocument/2006/relationships/slideLayout" Target="../slideLayouts/slideLayout835.xml"/><Relationship Id="rId64" Type="http://schemas.openxmlformats.org/officeDocument/2006/relationships/slideLayout" Target="../slideLayouts/slideLayout856.xml"/><Relationship Id="rId118" Type="http://schemas.openxmlformats.org/officeDocument/2006/relationships/slideLayout" Target="../slideLayouts/slideLayout910.xml"/><Relationship Id="rId139" Type="http://schemas.openxmlformats.org/officeDocument/2006/relationships/slideLayout" Target="../slideLayouts/slideLayout931.xml"/><Relationship Id="rId85" Type="http://schemas.openxmlformats.org/officeDocument/2006/relationships/slideLayout" Target="../slideLayouts/slideLayout877.xml"/><Relationship Id="rId150" Type="http://schemas.openxmlformats.org/officeDocument/2006/relationships/slideLayout" Target="../slideLayouts/slideLayout942.xml"/><Relationship Id="rId171" Type="http://schemas.openxmlformats.org/officeDocument/2006/relationships/slideLayout" Target="../slideLayouts/slideLayout963.xml"/><Relationship Id="rId192" Type="http://schemas.openxmlformats.org/officeDocument/2006/relationships/slideLayout" Target="../slideLayouts/slideLayout984.xml"/><Relationship Id="rId12" Type="http://schemas.openxmlformats.org/officeDocument/2006/relationships/slideLayout" Target="../slideLayouts/slideLayout804.xml"/><Relationship Id="rId33" Type="http://schemas.openxmlformats.org/officeDocument/2006/relationships/slideLayout" Target="../slideLayouts/slideLayout825.xml"/><Relationship Id="rId108" Type="http://schemas.openxmlformats.org/officeDocument/2006/relationships/slideLayout" Target="../slideLayouts/slideLayout900.xml"/><Relationship Id="rId129" Type="http://schemas.openxmlformats.org/officeDocument/2006/relationships/slideLayout" Target="../slideLayouts/slideLayout921.xml"/><Relationship Id="rId54" Type="http://schemas.openxmlformats.org/officeDocument/2006/relationships/slideLayout" Target="../slideLayouts/slideLayout846.xml"/><Relationship Id="rId75" Type="http://schemas.openxmlformats.org/officeDocument/2006/relationships/slideLayout" Target="../slideLayouts/slideLayout867.xml"/><Relationship Id="rId96" Type="http://schemas.openxmlformats.org/officeDocument/2006/relationships/slideLayout" Target="../slideLayouts/slideLayout888.xml"/><Relationship Id="rId140" Type="http://schemas.openxmlformats.org/officeDocument/2006/relationships/slideLayout" Target="../slideLayouts/slideLayout932.xml"/><Relationship Id="rId161" Type="http://schemas.openxmlformats.org/officeDocument/2006/relationships/slideLayout" Target="../slideLayouts/slideLayout953.xml"/><Relationship Id="rId182" Type="http://schemas.openxmlformats.org/officeDocument/2006/relationships/slideLayout" Target="../slideLayouts/slideLayout974.xml"/><Relationship Id="rId6" Type="http://schemas.openxmlformats.org/officeDocument/2006/relationships/slideLayout" Target="../slideLayouts/slideLayout798.xml"/><Relationship Id="rId23" Type="http://schemas.openxmlformats.org/officeDocument/2006/relationships/slideLayout" Target="../slideLayouts/slideLayout815.xml"/><Relationship Id="rId119" Type="http://schemas.openxmlformats.org/officeDocument/2006/relationships/slideLayout" Target="../slideLayouts/slideLayout911.xml"/><Relationship Id="rId44" Type="http://schemas.openxmlformats.org/officeDocument/2006/relationships/slideLayout" Target="../slideLayouts/slideLayout836.xml"/><Relationship Id="rId65" Type="http://schemas.openxmlformats.org/officeDocument/2006/relationships/slideLayout" Target="../slideLayouts/slideLayout857.xml"/><Relationship Id="rId86" Type="http://schemas.openxmlformats.org/officeDocument/2006/relationships/slideLayout" Target="../slideLayouts/slideLayout878.xml"/><Relationship Id="rId130" Type="http://schemas.openxmlformats.org/officeDocument/2006/relationships/slideLayout" Target="../slideLayouts/slideLayout922.xml"/><Relationship Id="rId151" Type="http://schemas.openxmlformats.org/officeDocument/2006/relationships/slideLayout" Target="../slideLayouts/slideLayout943.xml"/><Relationship Id="rId172" Type="http://schemas.openxmlformats.org/officeDocument/2006/relationships/slideLayout" Target="../slideLayouts/slideLayout964.xml"/><Relationship Id="rId193" Type="http://schemas.openxmlformats.org/officeDocument/2006/relationships/slideLayout" Target="../slideLayouts/slideLayout985.xml"/><Relationship Id="rId13" Type="http://schemas.openxmlformats.org/officeDocument/2006/relationships/slideLayout" Target="../slideLayouts/slideLayout805.xml"/><Relationship Id="rId109" Type="http://schemas.openxmlformats.org/officeDocument/2006/relationships/slideLayout" Target="../slideLayouts/slideLayout901.xml"/><Relationship Id="rId34" Type="http://schemas.openxmlformats.org/officeDocument/2006/relationships/slideLayout" Target="../slideLayouts/slideLayout826.xml"/><Relationship Id="rId55" Type="http://schemas.openxmlformats.org/officeDocument/2006/relationships/slideLayout" Target="../slideLayouts/slideLayout847.xml"/><Relationship Id="rId76" Type="http://schemas.openxmlformats.org/officeDocument/2006/relationships/slideLayout" Target="../slideLayouts/slideLayout868.xml"/><Relationship Id="rId97" Type="http://schemas.openxmlformats.org/officeDocument/2006/relationships/slideLayout" Target="../slideLayouts/slideLayout889.xml"/><Relationship Id="rId120" Type="http://schemas.openxmlformats.org/officeDocument/2006/relationships/slideLayout" Target="../slideLayouts/slideLayout912.xml"/><Relationship Id="rId141" Type="http://schemas.openxmlformats.org/officeDocument/2006/relationships/slideLayout" Target="../slideLayouts/slideLayout933.xml"/><Relationship Id="rId7" Type="http://schemas.openxmlformats.org/officeDocument/2006/relationships/slideLayout" Target="../slideLayouts/slideLayout799.xml"/><Relationship Id="rId71" Type="http://schemas.openxmlformats.org/officeDocument/2006/relationships/slideLayout" Target="../slideLayouts/slideLayout863.xml"/><Relationship Id="rId92" Type="http://schemas.openxmlformats.org/officeDocument/2006/relationships/slideLayout" Target="../slideLayouts/slideLayout884.xml"/><Relationship Id="rId162" Type="http://schemas.openxmlformats.org/officeDocument/2006/relationships/slideLayout" Target="../slideLayouts/slideLayout954.xml"/><Relationship Id="rId183" Type="http://schemas.openxmlformats.org/officeDocument/2006/relationships/slideLayout" Target="../slideLayouts/slideLayout975.xml"/><Relationship Id="rId2" Type="http://schemas.openxmlformats.org/officeDocument/2006/relationships/slideLayout" Target="../slideLayouts/slideLayout794.xml"/><Relationship Id="rId29" Type="http://schemas.openxmlformats.org/officeDocument/2006/relationships/slideLayout" Target="../slideLayouts/slideLayout821.xml"/><Relationship Id="rId24" Type="http://schemas.openxmlformats.org/officeDocument/2006/relationships/slideLayout" Target="../slideLayouts/slideLayout816.xml"/><Relationship Id="rId40" Type="http://schemas.openxmlformats.org/officeDocument/2006/relationships/slideLayout" Target="../slideLayouts/slideLayout832.xml"/><Relationship Id="rId45" Type="http://schemas.openxmlformats.org/officeDocument/2006/relationships/slideLayout" Target="../slideLayouts/slideLayout837.xml"/><Relationship Id="rId66" Type="http://schemas.openxmlformats.org/officeDocument/2006/relationships/slideLayout" Target="../slideLayouts/slideLayout858.xml"/><Relationship Id="rId87" Type="http://schemas.openxmlformats.org/officeDocument/2006/relationships/slideLayout" Target="../slideLayouts/slideLayout879.xml"/><Relationship Id="rId110" Type="http://schemas.openxmlformats.org/officeDocument/2006/relationships/slideLayout" Target="../slideLayouts/slideLayout902.xml"/><Relationship Id="rId115" Type="http://schemas.openxmlformats.org/officeDocument/2006/relationships/slideLayout" Target="../slideLayouts/slideLayout907.xml"/><Relationship Id="rId131" Type="http://schemas.openxmlformats.org/officeDocument/2006/relationships/slideLayout" Target="../slideLayouts/slideLayout923.xml"/><Relationship Id="rId136" Type="http://schemas.openxmlformats.org/officeDocument/2006/relationships/slideLayout" Target="../slideLayouts/slideLayout928.xml"/><Relationship Id="rId157" Type="http://schemas.openxmlformats.org/officeDocument/2006/relationships/slideLayout" Target="../slideLayouts/slideLayout949.xml"/><Relationship Id="rId178" Type="http://schemas.openxmlformats.org/officeDocument/2006/relationships/slideLayout" Target="../slideLayouts/slideLayout970.xml"/><Relationship Id="rId61" Type="http://schemas.openxmlformats.org/officeDocument/2006/relationships/slideLayout" Target="../slideLayouts/slideLayout853.xml"/><Relationship Id="rId82" Type="http://schemas.openxmlformats.org/officeDocument/2006/relationships/slideLayout" Target="../slideLayouts/slideLayout874.xml"/><Relationship Id="rId152" Type="http://schemas.openxmlformats.org/officeDocument/2006/relationships/slideLayout" Target="../slideLayouts/slideLayout944.xml"/><Relationship Id="rId173" Type="http://schemas.openxmlformats.org/officeDocument/2006/relationships/slideLayout" Target="../slideLayouts/slideLayout965.xml"/><Relationship Id="rId194" Type="http://schemas.openxmlformats.org/officeDocument/2006/relationships/slideLayout" Target="../slideLayouts/slideLayout986.xml"/><Relationship Id="rId19" Type="http://schemas.openxmlformats.org/officeDocument/2006/relationships/slideLayout" Target="../slideLayouts/slideLayout811.xml"/><Relationship Id="rId14" Type="http://schemas.openxmlformats.org/officeDocument/2006/relationships/slideLayout" Target="../slideLayouts/slideLayout806.xml"/><Relationship Id="rId30" Type="http://schemas.openxmlformats.org/officeDocument/2006/relationships/slideLayout" Target="../slideLayouts/slideLayout822.xml"/><Relationship Id="rId35" Type="http://schemas.openxmlformats.org/officeDocument/2006/relationships/slideLayout" Target="../slideLayouts/slideLayout827.xml"/><Relationship Id="rId56" Type="http://schemas.openxmlformats.org/officeDocument/2006/relationships/slideLayout" Target="../slideLayouts/slideLayout848.xml"/><Relationship Id="rId77" Type="http://schemas.openxmlformats.org/officeDocument/2006/relationships/slideLayout" Target="../slideLayouts/slideLayout869.xml"/><Relationship Id="rId100" Type="http://schemas.openxmlformats.org/officeDocument/2006/relationships/slideLayout" Target="../slideLayouts/slideLayout892.xml"/><Relationship Id="rId105" Type="http://schemas.openxmlformats.org/officeDocument/2006/relationships/slideLayout" Target="../slideLayouts/slideLayout897.xml"/><Relationship Id="rId126" Type="http://schemas.openxmlformats.org/officeDocument/2006/relationships/slideLayout" Target="../slideLayouts/slideLayout918.xml"/><Relationship Id="rId147" Type="http://schemas.openxmlformats.org/officeDocument/2006/relationships/slideLayout" Target="../slideLayouts/slideLayout939.xml"/><Relationship Id="rId168" Type="http://schemas.openxmlformats.org/officeDocument/2006/relationships/slideLayout" Target="../slideLayouts/slideLayout960.xml"/><Relationship Id="rId8" Type="http://schemas.openxmlformats.org/officeDocument/2006/relationships/slideLayout" Target="../slideLayouts/slideLayout800.xml"/><Relationship Id="rId51" Type="http://schemas.openxmlformats.org/officeDocument/2006/relationships/slideLayout" Target="../slideLayouts/slideLayout843.xml"/><Relationship Id="rId72" Type="http://schemas.openxmlformats.org/officeDocument/2006/relationships/slideLayout" Target="../slideLayouts/slideLayout864.xml"/><Relationship Id="rId93" Type="http://schemas.openxmlformats.org/officeDocument/2006/relationships/slideLayout" Target="../slideLayouts/slideLayout885.xml"/><Relationship Id="rId98" Type="http://schemas.openxmlformats.org/officeDocument/2006/relationships/slideLayout" Target="../slideLayouts/slideLayout890.xml"/><Relationship Id="rId121" Type="http://schemas.openxmlformats.org/officeDocument/2006/relationships/slideLayout" Target="../slideLayouts/slideLayout913.xml"/><Relationship Id="rId142" Type="http://schemas.openxmlformats.org/officeDocument/2006/relationships/slideLayout" Target="../slideLayouts/slideLayout934.xml"/><Relationship Id="rId163" Type="http://schemas.openxmlformats.org/officeDocument/2006/relationships/slideLayout" Target="../slideLayouts/slideLayout955.xml"/><Relationship Id="rId184" Type="http://schemas.openxmlformats.org/officeDocument/2006/relationships/slideLayout" Target="../slideLayouts/slideLayout976.xml"/><Relationship Id="rId189" Type="http://schemas.openxmlformats.org/officeDocument/2006/relationships/slideLayout" Target="../slideLayouts/slideLayout981.xml"/><Relationship Id="rId3" Type="http://schemas.openxmlformats.org/officeDocument/2006/relationships/slideLayout" Target="../slideLayouts/slideLayout795.xml"/><Relationship Id="rId25" Type="http://schemas.openxmlformats.org/officeDocument/2006/relationships/slideLayout" Target="../slideLayouts/slideLayout817.xml"/><Relationship Id="rId46" Type="http://schemas.openxmlformats.org/officeDocument/2006/relationships/slideLayout" Target="../slideLayouts/slideLayout838.xml"/><Relationship Id="rId67" Type="http://schemas.openxmlformats.org/officeDocument/2006/relationships/slideLayout" Target="../slideLayouts/slideLayout859.xml"/><Relationship Id="rId116" Type="http://schemas.openxmlformats.org/officeDocument/2006/relationships/slideLayout" Target="../slideLayouts/slideLayout908.xml"/><Relationship Id="rId137" Type="http://schemas.openxmlformats.org/officeDocument/2006/relationships/slideLayout" Target="../slideLayouts/slideLayout929.xml"/><Relationship Id="rId158" Type="http://schemas.openxmlformats.org/officeDocument/2006/relationships/slideLayout" Target="../slideLayouts/slideLayout950.xml"/><Relationship Id="rId20" Type="http://schemas.openxmlformats.org/officeDocument/2006/relationships/slideLayout" Target="../slideLayouts/slideLayout812.xml"/><Relationship Id="rId41" Type="http://schemas.openxmlformats.org/officeDocument/2006/relationships/slideLayout" Target="../slideLayouts/slideLayout833.xml"/><Relationship Id="rId62" Type="http://schemas.openxmlformats.org/officeDocument/2006/relationships/slideLayout" Target="../slideLayouts/slideLayout854.xml"/><Relationship Id="rId83" Type="http://schemas.openxmlformats.org/officeDocument/2006/relationships/slideLayout" Target="../slideLayouts/slideLayout875.xml"/><Relationship Id="rId88" Type="http://schemas.openxmlformats.org/officeDocument/2006/relationships/slideLayout" Target="../slideLayouts/slideLayout880.xml"/><Relationship Id="rId111" Type="http://schemas.openxmlformats.org/officeDocument/2006/relationships/slideLayout" Target="../slideLayouts/slideLayout903.xml"/><Relationship Id="rId132" Type="http://schemas.openxmlformats.org/officeDocument/2006/relationships/slideLayout" Target="../slideLayouts/slideLayout924.xml"/><Relationship Id="rId153" Type="http://schemas.openxmlformats.org/officeDocument/2006/relationships/slideLayout" Target="../slideLayouts/slideLayout945.xml"/><Relationship Id="rId174" Type="http://schemas.openxmlformats.org/officeDocument/2006/relationships/slideLayout" Target="../slideLayouts/slideLayout966.xml"/><Relationship Id="rId179" Type="http://schemas.openxmlformats.org/officeDocument/2006/relationships/slideLayout" Target="../slideLayouts/slideLayout971.xml"/><Relationship Id="rId195" Type="http://schemas.openxmlformats.org/officeDocument/2006/relationships/slideLayout" Target="../slideLayouts/slideLayout987.xml"/><Relationship Id="rId190" Type="http://schemas.openxmlformats.org/officeDocument/2006/relationships/slideLayout" Target="../slideLayouts/slideLayout982.xml"/><Relationship Id="rId15" Type="http://schemas.openxmlformats.org/officeDocument/2006/relationships/slideLayout" Target="../slideLayouts/slideLayout807.xml"/><Relationship Id="rId36" Type="http://schemas.openxmlformats.org/officeDocument/2006/relationships/slideLayout" Target="../slideLayouts/slideLayout828.xml"/><Relationship Id="rId57" Type="http://schemas.openxmlformats.org/officeDocument/2006/relationships/slideLayout" Target="../slideLayouts/slideLayout849.xml"/><Relationship Id="rId106" Type="http://schemas.openxmlformats.org/officeDocument/2006/relationships/slideLayout" Target="../slideLayouts/slideLayout898.xml"/><Relationship Id="rId127" Type="http://schemas.openxmlformats.org/officeDocument/2006/relationships/slideLayout" Target="../slideLayouts/slideLayout919.xml"/><Relationship Id="rId10" Type="http://schemas.openxmlformats.org/officeDocument/2006/relationships/slideLayout" Target="../slideLayouts/slideLayout802.xml"/><Relationship Id="rId31" Type="http://schemas.openxmlformats.org/officeDocument/2006/relationships/slideLayout" Target="../slideLayouts/slideLayout823.xml"/><Relationship Id="rId52" Type="http://schemas.openxmlformats.org/officeDocument/2006/relationships/slideLayout" Target="../slideLayouts/slideLayout844.xml"/><Relationship Id="rId73" Type="http://schemas.openxmlformats.org/officeDocument/2006/relationships/slideLayout" Target="../slideLayouts/slideLayout865.xml"/><Relationship Id="rId78" Type="http://schemas.openxmlformats.org/officeDocument/2006/relationships/slideLayout" Target="../slideLayouts/slideLayout870.xml"/><Relationship Id="rId94" Type="http://schemas.openxmlformats.org/officeDocument/2006/relationships/slideLayout" Target="../slideLayouts/slideLayout886.xml"/><Relationship Id="rId99" Type="http://schemas.openxmlformats.org/officeDocument/2006/relationships/slideLayout" Target="../slideLayouts/slideLayout891.xml"/><Relationship Id="rId101" Type="http://schemas.openxmlformats.org/officeDocument/2006/relationships/slideLayout" Target="../slideLayouts/slideLayout893.xml"/><Relationship Id="rId122" Type="http://schemas.openxmlformats.org/officeDocument/2006/relationships/slideLayout" Target="../slideLayouts/slideLayout914.xml"/><Relationship Id="rId143" Type="http://schemas.openxmlformats.org/officeDocument/2006/relationships/slideLayout" Target="../slideLayouts/slideLayout935.xml"/><Relationship Id="rId148" Type="http://schemas.openxmlformats.org/officeDocument/2006/relationships/slideLayout" Target="../slideLayouts/slideLayout940.xml"/><Relationship Id="rId164" Type="http://schemas.openxmlformats.org/officeDocument/2006/relationships/slideLayout" Target="../slideLayouts/slideLayout956.xml"/><Relationship Id="rId169" Type="http://schemas.openxmlformats.org/officeDocument/2006/relationships/slideLayout" Target="../slideLayouts/slideLayout961.xml"/><Relationship Id="rId185" Type="http://schemas.openxmlformats.org/officeDocument/2006/relationships/slideLayout" Target="../slideLayouts/slideLayout977.xml"/><Relationship Id="rId4" Type="http://schemas.openxmlformats.org/officeDocument/2006/relationships/slideLayout" Target="../slideLayouts/slideLayout796.xml"/><Relationship Id="rId9" Type="http://schemas.openxmlformats.org/officeDocument/2006/relationships/slideLayout" Target="../slideLayouts/slideLayout801.xml"/><Relationship Id="rId180" Type="http://schemas.openxmlformats.org/officeDocument/2006/relationships/slideLayout" Target="../slideLayouts/slideLayout972.xml"/><Relationship Id="rId26" Type="http://schemas.openxmlformats.org/officeDocument/2006/relationships/slideLayout" Target="../slideLayouts/slideLayout818.xml"/><Relationship Id="rId47" Type="http://schemas.openxmlformats.org/officeDocument/2006/relationships/slideLayout" Target="../slideLayouts/slideLayout839.xml"/><Relationship Id="rId68" Type="http://schemas.openxmlformats.org/officeDocument/2006/relationships/slideLayout" Target="../slideLayouts/slideLayout860.xml"/><Relationship Id="rId89" Type="http://schemas.openxmlformats.org/officeDocument/2006/relationships/slideLayout" Target="../slideLayouts/slideLayout881.xml"/><Relationship Id="rId112" Type="http://schemas.openxmlformats.org/officeDocument/2006/relationships/slideLayout" Target="../slideLayouts/slideLayout904.xml"/><Relationship Id="rId133" Type="http://schemas.openxmlformats.org/officeDocument/2006/relationships/slideLayout" Target="../slideLayouts/slideLayout925.xml"/><Relationship Id="rId154" Type="http://schemas.openxmlformats.org/officeDocument/2006/relationships/slideLayout" Target="../slideLayouts/slideLayout946.xml"/><Relationship Id="rId175" Type="http://schemas.openxmlformats.org/officeDocument/2006/relationships/slideLayout" Target="../slideLayouts/slideLayout967.xml"/><Relationship Id="rId196" Type="http://schemas.openxmlformats.org/officeDocument/2006/relationships/slideLayout" Target="../slideLayouts/slideLayout988.xml"/><Relationship Id="rId16" Type="http://schemas.openxmlformats.org/officeDocument/2006/relationships/slideLayout" Target="../slideLayouts/slideLayout808.xml"/><Relationship Id="rId37" Type="http://schemas.openxmlformats.org/officeDocument/2006/relationships/slideLayout" Target="../slideLayouts/slideLayout829.xml"/><Relationship Id="rId58" Type="http://schemas.openxmlformats.org/officeDocument/2006/relationships/slideLayout" Target="../slideLayouts/slideLayout850.xml"/><Relationship Id="rId79" Type="http://schemas.openxmlformats.org/officeDocument/2006/relationships/slideLayout" Target="../slideLayouts/slideLayout871.xml"/><Relationship Id="rId102" Type="http://schemas.openxmlformats.org/officeDocument/2006/relationships/slideLayout" Target="../slideLayouts/slideLayout894.xml"/><Relationship Id="rId123" Type="http://schemas.openxmlformats.org/officeDocument/2006/relationships/slideLayout" Target="../slideLayouts/slideLayout915.xml"/><Relationship Id="rId144" Type="http://schemas.openxmlformats.org/officeDocument/2006/relationships/slideLayout" Target="../slideLayouts/slideLayout936.xml"/><Relationship Id="rId90" Type="http://schemas.openxmlformats.org/officeDocument/2006/relationships/slideLayout" Target="../slideLayouts/slideLayout882.xml"/><Relationship Id="rId165" Type="http://schemas.openxmlformats.org/officeDocument/2006/relationships/slideLayout" Target="../slideLayouts/slideLayout957.xml"/><Relationship Id="rId186" Type="http://schemas.openxmlformats.org/officeDocument/2006/relationships/slideLayout" Target="../slideLayouts/slideLayout978.xml"/><Relationship Id="rId27" Type="http://schemas.openxmlformats.org/officeDocument/2006/relationships/slideLayout" Target="../slideLayouts/slideLayout819.xml"/><Relationship Id="rId48" Type="http://schemas.openxmlformats.org/officeDocument/2006/relationships/slideLayout" Target="../slideLayouts/slideLayout840.xml"/><Relationship Id="rId69" Type="http://schemas.openxmlformats.org/officeDocument/2006/relationships/slideLayout" Target="../slideLayouts/slideLayout861.xml"/><Relationship Id="rId113" Type="http://schemas.openxmlformats.org/officeDocument/2006/relationships/slideLayout" Target="../slideLayouts/slideLayout905.xml"/><Relationship Id="rId134" Type="http://schemas.openxmlformats.org/officeDocument/2006/relationships/slideLayout" Target="../slideLayouts/slideLayout926.xml"/><Relationship Id="rId80" Type="http://schemas.openxmlformats.org/officeDocument/2006/relationships/slideLayout" Target="../slideLayouts/slideLayout872.xml"/><Relationship Id="rId155" Type="http://schemas.openxmlformats.org/officeDocument/2006/relationships/slideLayout" Target="../slideLayouts/slideLayout947.xml"/><Relationship Id="rId176" Type="http://schemas.openxmlformats.org/officeDocument/2006/relationships/slideLayout" Target="../slideLayouts/slideLayout968.xml"/><Relationship Id="rId197" Type="http://schemas.openxmlformats.org/officeDocument/2006/relationships/slideLayout" Target="../slideLayouts/slideLayout989.xml"/><Relationship Id="rId17" Type="http://schemas.openxmlformats.org/officeDocument/2006/relationships/slideLayout" Target="../slideLayouts/slideLayout809.xml"/><Relationship Id="rId38" Type="http://schemas.openxmlformats.org/officeDocument/2006/relationships/slideLayout" Target="../slideLayouts/slideLayout830.xml"/><Relationship Id="rId59" Type="http://schemas.openxmlformats.org/officeDocument/2006/relationships/slideLayout" Target="../slideLayouts/slideLayout851.xml"/><Relationship Id="rId103" Type="http://schemas.openxmlformats.org/officeDocument/2006/relationships/slideLayout" Target="../slideLayouts/slideLayout895.xml"/><Relationship Id="rId124" Type="http://schemas.openxmlformats.org/officeDocument/2006/relationships/slideLayout" Target="../slideLayouts/slideLayout916.xml"/><Relationship Id="rId70" Type="http://schemas.openxmlformats.org/officeDocument/2006/relationships/slideLayout" Target="../slideLayouts/slideLayout862.xml"/><Relationship Id="rId91" Type="http://schemas.openxmlformats.org/officeDocument/2006/relationships/slideLayout" Target="../slideLayouts/slideLayout883.xml"/><Relationship Id="rId145" Type="http://schemas.openxmlformats.org/officeDocument/2006/relationships/slideLayout" Target="../slideLayouts/slideLayout937.xml"/><Relationship Id="rId166" Type="http://schemas.openxmlformats.org/officeDocument/2006/relationships/slideLayout" Target="../slideLayouts/slideLayout958.xml"/><Relationship Id="rId187" Type="http://schemas.openxmlformats.org/officeDocument/2006/relationships/slideLayout" Target="../slideLayouts/slideLayout979.xml"/><Relationship Id="rId1" Type="http://schemas.openxmlformats.org/officeDocument/2006/relationships/slideLayout" Target="../slideLayouts/slideLayout793.xml"/><Relationship Id="rId28" Type="http://schemas.openxmlformats.org/officeDocument/2006/relationships/slideLayout" Target="../slideLayouts/slideLayout820.xml"/><Relationship Id="rId49" Type="http://schemas.openxmlformats.org/officeDocument/2006/relationships/slideLayout" Target="../slideLayouts/slideLayout841.xml"/><Relationship Id="rId114" Type="http://schemas.openxmlformats.org/officeDocument/2006/relationships/slideLayout" Target="../slideLayouts/slideLayout906.xml"/><Relationship Id="rId60" Type="http://schemas.openxmlformats.org/officeDocument/2006/relationships/slideLayout" Target="../slideLayouts/slideLayout852.xml"/><Relationship Id="rId81" Type="http://schemas.openxmlformats.org/officeDocument/2006/relationships/slideLayout" Target="../slideLayouts/slideLayout873.xml"/><Relationship Id="rId135" Type="http://schemas.openxmlformats.org/officeDocument/2006/relationships/slideLayout" Target="../slideLayouts/slideLayout927.xml"/><Relationship Id="rId156" Type="http://schemas.openxmlformats.org/officeDocument/2006/relationships/slideLayout" Target="../slideLayouts/slideLayout948.xml"/><Relationship Id="rId177" Type="http://schemas.openxmlformats.org/officeDocument/2006/relationships/slideLayout" Target="../slideLayouts/slideLayout969.xml"/><Relationship Id="rId198" Type="http://schemas.openxmlformats.org/officeDocument/2006/relationships/theme" Target="../theme/theme16.xml"/><Relationship Id="rId18" Type="http://schemas.openxmlformats.org/officeDocument/2006/relationships/slideLayout" Target="../slideLayouts/slideLayout810.xml"/><Relationship Id="rId39" Type="http://schemas.openxmlformats.org/officeDocument/2006/relationships/slideLayout" Target="../slideLayouts/slideLayout831.xml"/><Relationship Id="rId50" Type="http://schemas.openxmlformats.org/officeDocument/2006/relationships/slideLayout" Target="../slideLayouts/slideLayout842.xml"/><Relationship Id="rId104" Type="http://schemas.openxmlformats.org/officeDocument/2006/relationships/slideLayout" Target="../slideLayouts/slideLayout896.xml"/><Relationship Id="rId125" Type="http://schemas.openxmlformats.org/officeDocument/2006/relationships/slideLayout" Target="../slideLayouts/slideLayout917.xml"/><Relationship Id="rId146" Type="http://schemas.openxmlformats.org/officeDocument/2006/relationships/slideLayout" Target="../slideLayouts/slideLayout938.xml"/><Relationship Id="rId167" Type="http://schemas.openxmlformats.org/officeDocument/2006/relationships/slideLayout" Target="../slideLayouts/slideLayout959.xml"/><Relationship Id="rId188" Type="http://schemas.openxmlformats.org/officeDocument/2006/relationships/slideLayout" Target="../slideLayouts/slideLayout980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7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992.xml"/><Relationship Id="rId7" Type="http://schemas.openxmlformats.org/officeDocument/2006/relationships/slideLayout" Target="../slideLayouts/slideLayout996.xml"/><Relationship Id="rId12" Type="http://schemas.openxmlformats.org/officeDocument/2006/relationships/slideLayout" Target="../slideLayouts/slideLayout1001.xml"/><Relationship Id="rId2" Type="http://schemas.openxmlformats.org/officeDocument/2006/relationships/slideLayout" Target="../slideLayouts/slideLayout991.xml"/><Relationship Id="rId1" Type="http://schemas.openxmlformats.org/officeDocument/2006/relationships/slideLayout" Target="../slideLayouts/slideLayout990.xml"/><Relationship Id="rId6" Type="http://schemas.openxmlformats.org/officeDocument/2006/relationships/slideLayout" Target="../slideLayouts/slideLayout995.xml"/><Relationship Id="rId11" Type="http://schemas.openxmlformats.org/officeDocument/2006/relationships/slideLayout" Target="../slideLayouts/slideLayout1000.xml"/><Relationship Id="rId5" Type="http://schemas.openxmlformats.org/officeDocument/2006/relationships/slideLayout" Target="../slideLayouts/slideLayout994.xml"/><Relationship Id="rId10" Type="http://schemas.openxmlformats.org/officeDocument/2006/relationships/slideLayout" Target="../slideLayouts/slideLayout999.xml"/><Relationship Id="rId4" Type="http://schemas.openxmlformats.org/officeDocument/2006/relationships/slideLayout" Target="../slideLayouts/slideLayout993.xml"/><Relationship Id="rId9" Type="http://schemas.openxmlformats.org/officeDocument/2006/relationships/slideLayout" Target="../slideLayouts/slideLayout9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image" Target="../media/image42.jpeg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image" Target="../media/image4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image" Target="../media/image42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18.xml"/><Relationship Id="rId4" Type="http://schemas.openxmlformats.org/officeDocument/2006/relationships/image" Target="../media/image4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21.xml"/><Relationship Id="rId7" Type="http://schemas.openxmlformats.org/officeDocument/2006/relationships/slideLayout" Target="../slideLayouts/slideLayout225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5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28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image" Target="../media/image4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Relationship Id="rId14" Type="http://schemas.openxmlformats.org/officeDocument/2006/relationships/image" Target="../media/image4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8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4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Relationship Id="rId11" Type="http://schemas.openxmlformats.org/officeDocument/2006/relationships/slideLayout" Target="../slideLayouts/slideLayout251.xml"/><Relationship Id="rId5" Type="http://schemas.openxmlformats.org/officeDocument/2006/relationships/slideLayout" Target="../slideLayouts/slideLayout245.xml"/><Relationship Id="rId10" Type="http://schemas.openxmlformats.org/officeDocument/2006/relationships/slideLayout" Target="../slideLayouts/slideLayout250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image" Target="../media/image4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54.xml"/><Relationship Id="rId7" Type="http://schemas.openxmlformats.org/officeDocument/2006/relationships/slideLayout" Target="../slideLayouts/slideLayout258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0" Type="http://schemas.openxmlformats.org/officeDocument/2006/relationships/slideLayout" Target="../slideLayouts/slideLayout261.x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4" Type="http://schemas.openxmlformats.org/officeDocument/2006/relationships/image" Target="../media/image4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0.xml"/><Relationship Id="rId13" Type="http://schemas.openxmlformats.org/officeDocument/2006/relationships/image" Target="../media/image41.jpeg"/><Relationship Id="rId3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69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63.xml"/><Relationship Id="rId6" Type="http://schemas.openxmlformats.org/officeDocument/2006/relationships/slideLayout" Target="../slideLayouts/slideLayout268.xml"/><Relationship Id="rId11" Type="http://schemas.openxmlformats.org/officeDocument/2006/relationships/slideLayout" Target="../slideLayouts/slideLayout273.xml"/><Relationship Id="rId5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72.xml"/><Relationship Id="rId4" Type="http://schemas.openxmlformats.org/officeDocument/2006/relationships/slideLayout" Target="../slideLayouts/slideLayout266.xml"/><Relationship Id="rId9" Type="http://schemas.openxmlformats.org/officeDocument/2006/relationships/slideLayout" Target="../slideLayouts/slideLayout271.xml"/><Relationship Id="rId14" Type="http://schemas.openxmlformats.org/officeDocument/2006/relationships/image" Target="../media/image4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3894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4" r:id="rId1"/>
    <p:sldLayoutId id="2147485075" r:id="rId2"/>
    <p:sldLayoutId id="2147485076" r:id="rId3"/>
    <p:sldLayoutId id="2147485077" r:id="rId4"/>
    <p:sldLayoutId id="2147485078" r:id="rId5"/>
    <p:sldLayoutId id="2147485079" r:id="rId6"/>
    <p:sldLayoutId id="2147485080" r:id="rId7"/>
    <p:sldLayoutId id="2147485081" r:id="rId8"/>
    <p:sldLayoutId id="2147485082" r:id="rId9"/>
    <p:sldLayoutId id="2147485083" r:id="rId10"/>
    <p:sldLayoutId id="2147484836" r:id="rId11"/>
    <p:sldLayoutId id="2147484837" r:id="rId12"/>
    <p:sldLayoutId id="2147484839" r:id="rId13"/>
    <p:sldLayoutId id="2147484387" r:id="rId14"/>
    <p:sldLayoutId id="2147484599" r:id="rId15"/>
    <p:sldLayoutId id="2147484624" r:id="rId16"/>
    <p:sldLayoutId id="2147484353" r:id="rId17"/>
    <p:sldLayoutId id="2147484627" r:id="rId18"/>
    <p:sldLayoutId id="2147484354" r:id="rId19"/>
    <p:sldLayoutId id="2147484838" r:id="rId20"/>
    <p:sldLayoutId id="2147484559" r:id="rId21"/>
    <p:sldLayoutId id="2147484355" r:id="rId22"/>
    <p:sldLayoutId id="2147484356" r:id="rId23"/>
    <p:sldLayoutId id="2147484357" r:id="rId24"/>
    <p:sldLayoutId id="2147484358" r:id="rId25"/>
    <p:sldLayoutId id="2147484634" r:id="rId26"/>
    <p:sldLayoutId id="2147484635" r:id="rId27"/>
    <p:sldLayoutId id="2147484238" r:id="rId28"/>
    <p:sldLayoutId id="2147484200" r:id="rId29"/>
    <p:sldLayoutId id="2147484840" r:id="rId30"/>
    <p:sldLayoutId id="2147484202" r:id="rId31"/>
    <p:sldLayoutId id="2147484203" r:id="rId32"/>
    <p:sldLayoutId id="2147484204" r:id="rId33"/>
    <p:sldLayoutId id="2147484205" r:id="rId34"/>
    <p:sldLayoutId id="2147484206" r:id="rId35"/>
    <p:sldLayoutId id="2147484237" r:id="rId36"/>
    <p:sldLayoutId id="2147484208" r:id="rId37"/>
    <p:sldLayoutId id="2147485064" r:id="rId38"/>
    <p:sldLayoutId id="2147485065" r:id="rId39"/>
    <p:sldLayoutId id="2147483741" r:id="rId40"/>
    <p:sldLayoutId id="2147485066" r:id="rId41"/>
    <p:sldLayoutId id="2147485067" r:id="rId42"/>
    <p:sldLayoutId id="2147485068" r:id="rId43"/>
    <p:sldLayoutId id="2147485069" r:id="rId44"/>
    <p:sldLayoutId id="2147485352" r:id="rId45"/>
    <p:sldLayoutId id="2147485070" r:id="rId46"/>
    <p:sldLayoutId id="2147483736" r:id="rId47"/>
    <p:sldLayoutId id="2147485071" r:id="rId48"/>
    <p:sldLayoutId id="2147484359" r:id="rId49"/>
    <p:sldLayoutId id="2147484360" r:id="rId50"/>
    <p:sldLayoutId id="2147484361" r:id="rId51"/>
    <p:sldLayoutId id="2147484841" r:id="rId52"/>
    <p:sldLayoutId id="2147484842" r:id="rId53"/>
    <p:sldLayoutId id="2147484362" r:id="rId54"/>
    <p:sldLayoutId id="2147484363" r:id="rId55"/>
    <p:sldLayoutId id="2147484364" r:id="rId56"/>
    <p:sldLayoutId id="2147484365" r:id="rId57"/>
    <p:sldLayoutId id="2147484366" r:id="rId58"/>
    <p:sldLayoutId id="2147484367" r:id="rId59"/>
    <p:sldLayoutId id="2147484378" r:id="rId60"/>
    <p:sldLayoutId id="2147484351" r:id="rId61"/>
    <p:sldLayoutId id="2147484350" r:id="rId62"/>
    <p:sldLayoutId id="2147484352" r:id="rId63"/>
    <p:sldLayoutId id="2147484829" r:id="rId64"/>
    <p:sldLayoutId id="2147484830" r:id="rId65"/>
    <p:sldLayoutId id="2147484831" r:id="rId66"/>
    <p:sldLayoutId id="2147484843" r:id="rId67"/>
    <p:sldLayoutId id="2147485262" r:id="rId68"/>
    <p:sldLayoutId id="2147484832" r:id="rId69"/>
    <p:sldLayoutId id="2147483722" r:id="rId70"/>
    <p:sldLayoutId id="2147484258" r:id="rId71"/>
    <p:sldLayoutId id="2147484257" r:id="rId72"/>
    <p:sldLayoutId id="2147485033" r:id="rId73"/>
    <p:sldLayoutId id="2147484254" r:id="rId74"/>
    <p:sldLayoutId id="2147485093" r:id="rId75"/>
    <p:sldLayoutId id="2147484247" r:id="rId76"/>
    <p:sldLayoutId id="2147483681" r:id="rId77"/>
    <p:sldLayoutId id="2147485072" r:id="rId78"/>
    <p:sldLayoutId id="2147485355" r:id="rId79"/>
    <p:sldLayoutId id="2147484248" r:id="rId80"/>
    <p:sldLayoutId id="2147484249" r:id="rId81"/>
    <p:sldLayoutId id="2147484250" r:id="rId82"/>
    <p:sldLayoutId id="2147484251" r:id="rId83"/>
    <p:sldLayoutId id="2147484606" r:id="rId84"/>
    <p:sldLayoutId id="2147484845" r:id="rId85"/>
    <p:sldLayoutId id="2147484846" r:id="rId86"/>
    <p:sldLayoutId id="2147484231" r:id="rId87"/>
    <p:sldLayoutId id="2147484268" r:id="rId88"/>
    <p:sldLayoutId id="2147484235" r:id="rId89"/>
    <p:sldLayoutId id="2147484847" r:id="rId90"/>
    <p:sldLayoutId id="2147484245" r:id="rId91"/>
    <p:sldLayoutId id="2147484262" r:id="rId92"/>
    <p:sldLayoutId id="2147483719" r:id="rId93"/>
    <p:sldLayoutId id="2147485238" r:id="rId94"/>
    <p:sldLayoutId id="2147483721" r:id="rId95"/>
    <p:sldLayoutId id="2147484233" r:id="rId96"/>
    <p:sldLayoutId id="2147484821" r:id="rId97"/>
    <p:sldLayoutId id="2147483716" r:id="rId98"/>
    <p:sldLayoutId id="2147485239" r:id="rId99"/>
    <p:sldLayoutId id="2147484848" r:id="rId100"/>
    <p:sldLayoutId id="2147483717" r:id="rId101"/>
    <p:sldLayoutId id="2147483718" r:id="rId102"/>
    <p:sldLayoutId id="2147484400" r:id="rId103"/>
    <p:sldLayoutId id="2147484401" r:id="rId104"/>
    <p:sldLayoutId id="2147484402" r:id="rId105"/>
    <p:sldLayoutId id="2147484822" r:id="rId106"/>
    <p:sldLayoutId id="2147484849" r:id="rId107"/>
    <p:sldLayoutId id="2147484313" r:id="rId108"/>
    <p:sldLayoutId id="2147484315" r:id="rId109"/>
    <p:sldLayoutId id="2147485242" r:id="rId110"/>
    <p:sldLayoutId id="2147485263" r:id="rId111"/>
    <p:sldLayoutId id="2147484850" r:id="rId112"/>
    <p:sldLayoutId id="2147485243" r:id="rId113"/>
    <p:sldLayoutId id="2147485244" r:id="rId114"/>
    <p:sldLayoutId id="2147485245" r:id="rId115"/>
    <p:sldLayoutId id="2147484488" r:id="rId116"/>
    <p:sldLayoutId id="2147485246" r:id="rId117"/>
    <p:sldLayoutId id="2147485247" r:id="rId118"/>
    <p:sldLayoutId id="2147484851" r:id="rId119"/>
    <p:sldLayoutId id="2147485248" r:id="rId120"/>
    <p:sldLayoutId id="2147484335" r:id="rId121"/>
    <p:sldLayoutId id="2147484336" r:id="rId122"/>
    <p:sldLayoutId id="2147484337" r:id="rId123"/>
    <p:sldLayoutId id="2147484852" r:id="rId124"/>
    <p:sldLayoutId id="2147484853" r:id="rId125"/>
    <p:sldLayoutId id="2147484339" r:id="rId126"/>
    <p:sldLayoutId id="2147484340" r:id="rId127"/>
    <p:sldLayoutId id="2147484341" r:id="rId128"/>
    <p:sldLayoutId id="2147484342" r:id="rId129"/>
    <p:sldLayoutId id="2147484343" r:id="rId130"/>
    <p:sldLayoutId id="2147484344" r:id="rId131"/>
    <p:sldLayoutId id="2147484222" r:id="rId132"/>
    <p:sldLayoutId id="2147484854" r:id="rId133"/>
    <p:sldLayoutId id="2147484855" r:id="rId134"/>
    <p:sldLayoutId id="2147484584" r:id="rId135"/>
    <p:sldLayoutId id="2147483868" r:id="rId136"/>
    <p:sldLayoutId id="2147484585" r:id="rId137"/>
    <p:sldLayoutId id="2147484586" r:id="rId138"/>
    <p:sldLayoutId id="2147484587" r:id="rId139"/>
    <p:sldLayoutId id="2147484588" r:id="rId140"/>
    <p:sldLayoutId id="2147484592" r:id="rId141"/>
    <p:sldLayoutId id="2147484593" r:id="rId142"/>
    <p:sldLayoutId id="2147484594" r:id="rId143"/>
    <p:sldLayoutId id="2147484595" r:id="rId144"/>
    <p:sldLayoutId id="2147483676" r:id="rId145"/>
    <p:sldLayoutId id="2147484813" r:id="rId146"/>
    <p:sldLayoutId id="2147484386" r:id="rId147"/>
    <p:sldLayoutId id="2147484815" r:id="rId148"/>
    <p:sldLayoutId id="2147484816" r:id="rId149"/>
    <p:sldLayoutId id="2147484817" r:id="rId150"/>
    <p:sldLayoutId id="2147484329" r:id="rId151"/>
    <p:sldLayoutId id="2147484330" r:id="rId152"/>
    <p:sldLayoutId id="2147484331" r:id="rId153"/>
    <p:sldLayoutId id="2147484332" r:id="rId154"/>
    <p:sldLayoutId id="2147484485" r:id="rId155"/>
    <p:sldLayoutId id="2147484486" r:id="rId156"/>
    <p:sldLayoutId id="2147484609" r:id="rId157"/>
    <p:sldLayoutId id="2147484477" r:id="rId158"/>
    <p:sldLayoutId id="2147484478" r:id="rId159"/>
    <p:sldLayoutId id="2147484260" r:id="rId160"/>
    <p:sldLayoutId id="2147484856" r:id="rId161"/>
    <p:sldLayoutId id="2147484480" r:id="rId162"/>
    <p:sldLayoutId id="2147484267" r:id="rId163"/>
    <p:sldLayoutId id="2147484481" r:id="rId164"/>
    <p:sldLayoutId id="2147484482" r:id="rId165"/>
    <p:sldLayoutId id="2147484483" r:id="rId166"/>
    <p:sldLayoutId id="2147484484" r:id="rId167"/>
    <p:sldLayoutId id="2147485270" r:id="rId168"/>
    <p:sldLayoutId id="2147485271" r:id="rId169"/>
    <p:sldLayoutId id="2147485272" r:id="rId170"/>
    <p:sldLayoutId id="2147484857" r:id="rId171"/>
    <p:sldLayoutId id="2147485273" r:id="rId172"/>
    <p:sldLayoutId id="2147485274" r:id="rId173"/>
    <p:sldLayoutId id="2147485275" r:id="rId174"/>
    <p:sldLayoutId id="2147485276" r:id="rId175"/>
    <p:sldLayoutId id="2147485277" r:id="rId176"/>
    <p:sldLayoutId id="2147485278" r:id="rId177"/>
    <p:sldLayoutId id="2147483877" r:id="rId178"/>
    <p:sldLayoutId id="2147483878" r:id="rId179"/>
    <p:sldLayoutId id="2147484652" r:id="rId180"/>
    <p:sldLayoutId id="2147484653" r:id="rId181"/>
    <p:sldLayoutId id="2147484654" r:id="rId182"/>
    <p:sldLayoutId id="2147484655" r:id="rId183"/>
    <p:sldLayoutId id="2147484607" r:id="rId184"/>
    <p:sldLayoutId id="2147484608" r:id="rId185"/>
    <p:sldLayoutId id="2147484605" r:id="rId186"/>
    <p:sldLayoutId id="2147484833" r:id="rId187"/>
    <p:sldLayoutId id="2147484834" r:id="rId188"/>
    <p:sldLayoutId id="2147484349" r:id="rId189"/>
    <p:sldLayoutId id="2147485213" r:id="rId190"/>
    <p:sldLayoutId id="2147485214" r:id="rId191"/>
    <p:sldLayoutId id="2147485179" r:id="rId192"/>
    <p:sldLayoutId id="2147485354" r:id="rId193"/>
    <p:sldLayoutId id="2147485215" r:id="rId19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935575-F01E-4978-86AA-DFBB7878EE96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ACAC6D-BD82-4571-9E34-C1EFF11A946D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4953000"/>
            <a:ext cx="12192000" cy="19812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Rectangle 7"/>
          <p:cNvSpPr/>
          <p:nvPr userDrawn="1"/>
        </p:nvSpPr>
        <p:spPr>
          <a:xfrm>
            <a:off x="0" y="4953000"/>
            <a:ext cx="12192000" cy="101600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Date Placeholder 1"/>
          <p:cNvSpPr txBox="1">
            <a:spLocks/>
          </p:cNvSpPr>
          <p:nvPr userDrawn="1"/>
        </p:nvSpPr>
        <p:spPr>
          <a:xfrm>
            <a:off x="609600" y="5257800"/>
            <a:ext cx="28448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67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200" y="482600"/>
            <a:ext cx="4262269" cy="1085088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85A8FB-E1AF-4596-AF39-6BC7AEF6EE1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39201" y="482600"/>
            <a:ext cx="2378913" cy="1085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74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6" r:id="rId1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63512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41" r:id="rId3"/>
    <p:sldLayoutId id="2147484642" r:id="rId4"/>
    <p:sldLayoutId id="2147484643" r:id="rId5"/>
    <p:sldLayoutId id="2147484644" r:id="rId6"/>
    <p:sldLayoutId id="2147484645" r:id="rId7"/>
    <p:sldLayoutId id="2147484646" r:id="rId8"/>
    <p:sldLayoutId id="2147484647" r:id="rId9"/>
    <p:sldLayoutId id="2147484648" r:id="rId10"/>
    <p:sldLayoutId id="2147484649" r:id="rId11"/>
    <p:sldLayoutId id="2147484650" r:id="rId12"/>
    <p:sldLayoutId id="2147484651" r:id="rId13"/>
    <p:sldLayoutId id="2147485335" r:id="rId14"/>
    <p:sldLayoutId id="2147485336" r:id="rId15"/>
    <p:sldLayoutId id="2147485337" r:id="rId16"/>
    <p:sldLayoutId id="2147485338" r:id="rId17"/>
    <p:sldLayoutId id="2147484656" r:id="rId18"/>
    <p:sldLayoutId id="2147484657" r:id="rId19"/>
    <p:sldLayoutId id="2147484658" r:id="rId20"/>
    <p:sldLayoutId id="2147484659" r:id="rId21"/>
    <p:sldLayoutId id="2147484660" r:id="rId22"/>
    <p:sldLayoutId id="2147484661" r:id="rId23"/>
    <p:sldLayoutId id="2147484662" r:id="rId24"/>
    <p:sldLayoutId id="2147484663" r:id="rId25"/>
    <p:sldLayoutId id="2147484664" r:id="rId26"/>
    <p:sldLayoutId id="2147484665" r:id="rId27"/>
    <p:sldLayoutId id="2147484666" r:id="rId28"/>
    <p:sldLayoutId id="2147484667" r:id="rId29"/>
    <p:sldLayoutId id="2147484668" r:id="rId30"/>
    <p:sldLayoutId id="2147484669" r:id="rId31"/>
    <p:sldLayoutId id="2147484670" r:id="rId32"/>
    <p:sldLayoutId id="2147484671" r:id="rId33"/>
    <p:sldLayoutId id="2147484672" r:id="rId34"/>
    <p:sldLayoutId id="2147484673" r:id="rId35"/>
    <p:sldLayoutId id="2147484674" r:id="rId36"/>
    <p:sldLayoutId id="2147484675" r:id="rId37"/>
    <p:sldLayoutId id="2147484676" r:id="rId38"/>
    <p:sldLayoutId id="2147484677" r:id="rId39"/>
    <p:sldLayoutId id="2147484678" r:id="rId40"/>
    <p:sldLayoutId id="2147484679" r:id="rId41"/>
    <p:sldLayoutId id="2147484680" r:id="rId42"/>
    <p:sldLayoutId id="2147484684" r:id="rId43"/>
    <p:sldLayoutId id="2147484692" r:id="rId44"/>
    <p:sldLayoutId id="2147484693" r:id="rId45"/>
    <p:sldLayoutId id="2147484694" r:id="rId46"/>
    <p:sldLayoutId id="2147484695" r:id="rId47"/>
    <p:sldLayoutId id="2147484696" r:id="rId48"/>
    <p:sldLayoutId id="2147484697" r:id="rId49"/>
    <p:sldLayoutId id="2147484698" r:id="rId50"/>
    <p:sldLayoutId id="2147484699" r:id="rId51"/>
    <p:sldLayoutId id="2147484700" r:id="rId52"/>
    <p:sldLayoutId id="2147484701" r:id="rId53"/>
    <p:sldLayoutId id="2147484702" r:id="rId54"/>
    <p:sldLayoutId id="2147484703" r:id="rId55"/>
    <p:sldLayoutId id="2147484704" r:id="rId56"/>
    <p:sldLayoutId id="2147484705" r:id="rId57"/>
    <p:sldLayoutId id="2147484706" r:id="rId58"/>
    <p:sldLayoutId id="2147484707" r:id="rId59"/>
    <p:sldLayoutId id="2147484708" r:id="rId60"/>
    <p:sldLayoutId id="2147484709" r:id="rId61"/>
    <p:sldLayoutId id="2147484710" r:id="rId62"/>
    <p:sldLayoutId id="2147484711" r:id="rId63"/>
    <p:sldLayoutId id="2147484712" r:id="rId64"/>
    <p:sldLayoutId id="2147484713" r:id="rId65"/>
    <p:sldLayoutId id="2147484714" r:id="rId66"/>
    <p:sldLayoutId id="2147484715" r:id="rId67"/>
    <p:sldLayoutId id="2147484716" r:id="rId68"/>
    <p:sldLayoutId id="2147484717" r:id="rId69"/>
    <p:sldLayoutId id="2147484718" r:id="rId70"/>
    <p:sldLayoutId id="2147484719" r:id="rId71"/>
    <p:sldLayoutId id="2147484720" r:id="rId72"/>
    <p:sldLayoutId id="2147484721" r:id="rId73"/>
    <p:sldLayoutId id="2147484722" r:id="rId74"/>
    <p:sldLayoutId id="2147484723" r:id="rId75"/>
    <p:sldLayoutId id="2147484724" r:id="rId76"/>
    <p:sldLayoutId id="2147484725" r:id="rId77"/>
    <p:sldLayoutId id="2147484726" r:id="rId78"/>
    <p:sldLayoutId id="2147484727" r:id="rId79"/>
    <p:sldLayoutId id="2147484728" r:id="rId80"/>
    <p:sldLayoutId id="2147484729" r:id="rId81"/>
    <p:sldLayoutId id="2147484730" r:id="rId82"/>
    <p:sldLayoutId id="2147484731" r:id="rId83"/>
    <p:sldLayoutId id="2147484732" r:id="rId84"/>
    <p:sldLayoutId id="2147484733" r:id="rId85"/>
    <p:sldLayoutId id="2147484734" r:id="rId86"/>
    <p:sldLayoutId id="2147484735" r:id="rId87"/>
    <p:sldLayoutId id="2147484736" r:id="rId88"/>
    <p:sldLayoutId id="2147484737" r:id="rId89"/>
    <p:sldLayoutId id="2147484738" r:id="rId90"/>
    <p:sldLayoutId id="2147484739" r:id="rId91"/>
    <p:sldLayoutId id="2147484740" r:id="rId92"/>
    <p:sldLayoutId id="2147484741" r:id="rId93"/>
    <p:sldLayoutId id="2147484742" r:id="rId94"/>
    <p:sldLayoutId id="2147484743" r:id="rId95"/>
    <p:sldLayoutId id="2147484744" r:id="rId96"/>
    <p:sldLayoutId id="2147484745" r:id="rId97"/>
    <p:sldLayoutId id="2147484746" r:id="rId98"/>
    <p:sldLayoutId id="2147484747" r:id="rId99"/>
    <p:sldLayoutId id="2147484748" r:id="rId100"/>
    <p:sldLayoutId id="2147484749" r:id="rId101"/>
    <p:sldLayoutId id="2147484750" r:id="rId102"/>
    <p:sldLayoutId id="2147484751" r:id="rId103"/>
    <p:sldLayoutId id="2147484752" r:id="rId104"/>
    <p:sldLayoutId id="2147484753" r:id="rId105"/>
    <p:sldLayoutId id="2147484754" r:id="rId106"/>
    <p:sldLayoutId id="2147484755" r:id="rId107"/>
    <p:sldLayoutId id="2147484756" r:id="rId108"/>
    <p:sldLayoutId id="2147484757" r:id="rId109"/>
    <p:sldLayoutId id="2147484758" r:id="rId110"/>
    <p:sldLayoutId id="2147484759" r:id="rId111"/>
    <p:sldLayoutId id="2147484760" r:id="rId112"/>
    <p:sldLayoutId id="2147484761" r:id="rId113"/>
    <p:sldLayoutId id="2147484762" r:id="rId114"/>
    <p:sldLayoutId id="2147484763" r:id="rId115"/>
    <p:sldLayoutId id="2147484764" r:id="rId116"/>
    <p:sldLayoutId id="2147484765" r:id="rId117"/>
    <p:sldLayoutId id="2147484766" r:id="rId118"/>
    <p:sldLayoutId id="2147484767" r:id="rId119"/>
    <p:sldLayoutId id="2147484768" r:id="rId120"/>
    <p:sldLayoutId id="2147484769" r:id="rId121"/>
    <p:sldLayoutId id="2147484770" r:id="rId122"/>
    <p:sldLayoutId id="2147484771" r:id="rId123"/>
    <p:sldLayoutId id="2147484772" r:id="rId124"/>
    <p:sldLayoutId id="2147484773" r:id="rId125"/>
    <p:sldLayoutId id="2147484774" r:id="rId126"/>
    <p:sldLayoutId id="2147484775" r:id="rId127"/>
    <p:sldLayoutId id="2147484776" r:id="rId128"/>
    <p:sldLayoutId id="2147484777" r:id="rId129"/>
    <p:sldLayoutId id="2147484778" r:id="rId130"/>
    <p:sldLayoutId id="2147484779" r:id="rId131"/>
    <p:sldLayoutId id="2147484780" r:id="rId132"/>
    <p:sldLayoutId id="2147484781" r:id="rId133"/>
    <p:sldLayoutId id="2147484782" r:id="rId134"/>
    <p:sldLayoutId id="2147484783" r:id="rId135"/>
    <p:sldLayoutId id="2147484784" r:id="rId136"/>
    <p:sldLayoutId id="2147484785" r:id="rId137"/>
    <p:sldLayoutId id="2147484786" r:id="rId138"/>
    <p:sldLayoutId id="2147484787" r:id="rId139"/>
    <p:sldLayoutId id="2147484788" r:id="rId140"/>
    <p:sldLayoutId id="2147484789" r:id="rId141"/>
    <p:sldLayoutId id="2147484790" r:id="rId142"/>
    <p:sldLayoutId id="2147484791" r:id="rId143"/>
    <p:sldLayoutId id="2147484792" r:id="rId144"/>
    <p:sldLayoutId id="2147484793" r:id="rId145"/>
    <p:sldLayoutId id="2147484794" r:id="rId146"/>
    <p:sldLayoutId id="2147484795" r:id="rId147"/>
    <p:sldLayoutId id="2147484796" r:id="rId148"/>
    <p:sldLayoutId id="2147484797" r:id="rId149"/>
    <p:sldLayoutId id="2147484798" r:id="rId150"/>
    <p:sldLayoutId id="2147484799" r:id="rId151"/>
    <p:sldLayoutId id="2147484800" r:id="rId152"/>
    <p:sldLayoutId id="2147484801" r:id="rId153"/>
    <p:sldLayoutId id="2147484802" r:id="rId154"/>
    <p:sldLayoutId id="2147484803" r:id="rId155"/>
    <p:sldLayoutId id="2147484804" r:id="rId156"/>
    <p:sldLayoutId id="2147484805" r:id="rId157"/>
    <p:sldLayoutId id="2147484806" r:id="rId158"/>
    <p:sldLayoutId id="2147484807" r:id="rId159"/>
    <p:sldLayoutId id="2147484808" r:id="rId160"/>
    <p:sldLayoutId id="2147484809" r:id="rId161"/>
    <p:sldLayoutId id="2147484810" r:id="rId162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7A4A891-92BD-8240-B8C1-F6C8AB9E42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060" y="456085"/>
            <a:ext cx="9356368" cy="39052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545E5F-B0CD-8940-8C99-2737B49D59C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35553" y="1379105"/>
            <a:ext cx="9337875" cy="4866717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and other stuff that goes here </a:t>
            </a:r>
          </a:p>
          <a:p>
            <a:pPr lvl="1"/>
            <a:r>
              <a:rPr lang="en-US"/>
              <a:t>Second level and some more stuff that goes on until we reach a second line</a:t>
            </a:r>
          </a:p>
          <a:p>
            <a:pPr lvl="2"/>
            <a:r>
              <a:rPr lang="en-US"/>
              <a:t>Third level and some more stuff that goes on until we reach a second line</a:t>
            </a:r>
          </a:p>
          <a:p>
            <a:pPr lvl="3"/>
            <a:r>
              <a:rPr lang="en-US"/>
              <a:t>Fourth level</a:t>
            </a:r>
          </a:p>
          <a:p>
            <a:pPr lvl="4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C794D1C-9BB7-6947-B0BC-FCC1B9E9A6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517439" y="6356368"/>
            <a:ext cx="539238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1">
                    <a:tint val="75000"/>
                  </a:schemeClr>
                </a:solidFill>
                <a:latin typeface="Metropolis" pitchFamily="2" charset="77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475685-D08C-EF45-9ED7-3B8353EB6A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2863" y="635636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accent5"/>
                </a:solidFill>
                <a:latin typeface="Metropolis" pitchFamily="2" charset="77"/>
              </a:defRPr>
            </a:lvl1pPr>
          </a:lstStyle>
          <a:p>
            <a:fld id="{96ACBB43-5C7B-084B-877B-5EF90931306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731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5240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 spc="200" baseline="0">
          <a:solidFill>
            <a:schemeClr val="bg1">
              <a:lumMod val="65000"/>
            </a:schemeClr>
          </a:solidFill>
          <a:latin typeface="+mn-lt"/>
          <a:ea typeface="+mj-ea"/>
          <a:cs typeface="+mj-cs"/>
        </a:defRPr>
      </a:lvl1pPr>
    </p:titleStyle>
    <p:bodyStyle>
      <a:lvl1pPr marL="571500" indent="-571500" algn="l" defTabSz="914400" rtl="0" eaLnBrk="1" fontAlgn="ctr" latinLnBrk="0" hangingPunct="1">
        <a:lnSpc>
          <a:spcPct val="112000"/>
        </a:lnSpc>
        <a:spcBef>
          <a:spcPts val="0"/>
        </a:spcBef>
        <a:spcAft>
          <a:spcPts val="600"/>
        </a:spcAft>
        <a:buClr>
          <a:schemeClr val="accent1"/>
        </a:buClr>
        <a:buSzPct val="120000"/>
        <a:buFont typeface="System Font Regular"/>
        <a:buChar char="○"/>
        <a:defRPr sz="2800" b="1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1pPr>
      <a:lvl2pPr marL="974725" indent="-4064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7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2pPr>
      <a:lvl3pPr marL="1371600" indent="-365125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22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3pPr>
      <a:lvl4pPr marL="1768475" indent="-34290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4pPr>
      <a:lvl5pPr marL="964692" indent="0" algn="l" defTabSz="914400" rtl="0" eaLnBrk="1" latinLnBrk="0" hangingPunct="1">
        <a:lnSpc>
          <a:spcPct val="112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None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5pPr>
      <a:lvl6pPr marL="1440180" indent="-292608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6pPr>
      <a:lvl7pPr marL="162306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7pPr>
      <a:lvl8pPr marL="189738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8pPr>
      <a:lvl9pPr marL="2171700" indent="-29260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120000"/>
        <a:buFont typeface="Arial" panose="020B0604020202020204" pitchFamily="34" charset="0"/>
        <a:buChar char="•"/>
        <a:defRPr sz="1800" b="0" i="0" kern="1200">
          <a:solidFill>
            <a:schemeClr val="tx1">
              <a:lumMod val="90000"/>
              <a:lumOff val="10000"/>
            </a:schemeClr>
          </a:solidFill>
          <a:latin typeface="Metropolis Light" pitchFamily="2" charset="77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199D4A-F6A9-EC46-A2DF-BB7FBC55CD1D}" type="datetimeFigureOut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0485A7-D857-9442-BA4B-B3E6D7DD0F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465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9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70" r:id="rId13"/>
    <p:sldLayoutId id="2147483773" r:id="rId14"/>
    <p:sldLayoutId id="2147483774" r:id="rId15"/>
    <p:sldLayoutId id="2147483777" r:id="rId16"/>
    <p:sldLayoutId id="2147483778" r:id="rId17"/>
    <p:sldLayoutId id="2147483781" r:id="rId18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21519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9" r:id="rId1"/>
    <p:sldLayoutId id="2147484860" r:id="rId2"/>
    <p:sldLayoutId id="2147484861" r:id="rId3"/>
    <p:sldLayoutId id="2147484862" r:id="rId4"/>
    <p:sldLayoutId id="2147484863" r:id="rId5"/>
    <p:sldLayoutId id="2147484864" r:id="rId6"/>
    <p:sldLayoutId id="2147484865" r:id="rId7"/>
    <p:sldLayoutId id="2147484866" r:id="rId8"/>
    <p:sldLayoutId id="2147484867" r:id="rId9"/>
    <p:sldLayoutId id="2147484868" r:id="rId10"/>
    <p:sldLayoutId id="2147484869" r:id="rId11"/>
    <p:sldLayoutId id="2147484878" r:id="rId12"/>
    <p:sldLayoutId id="2147484879" r:id="rId13"/>
    <p:sldLayoutId id="2147484880" r:id="rId14"/>
    <p:sldLayoutId id="2147484881" r:id="rId15"/>
    <p:sldLayoutId id="2147484882" r:id="rId16"/>
    <p:sldLayoutId id="2147484883" r:id="rId17"/>
    <p:sldLayoutId id="2147484884" r:id="rId18"/>
    <p:sldLayoutId id="2147484885" r:id="rId19"/>
    <p:sldLayoutId id="2147484886" r:id="rId20"/>
    <p:sldLayoutId id="2147484887" r:id="rId21"/>
    <p:sldLayoutId id="2147484888" r:id="rId22"/>
    <p:sldLayoutId id="2147484889" r:id="rId23"/>
    <p:sldLayoutId id="2147484890" r:id="rId24"/>
    <p:sldLayoutId id="2147484891" r:id="rId25"/>
    <p:sldLayoutId id="2147484892" r:id="rId26"/>
    <p:sldLayoutId id="2147484893" r:id="rId27"/>
    <p:sldLayoutId id="2147484894" r:id="rId28"/>
    <p:sldLayoutId id="2147484895" r:id="rId29"/>
    <p:sldLayoutId id="2147484896" r:id="rId30"/>
    <p:sldLayoutId id="2147484897" r:id="rId31"/>
    <p:sldLayoutId id="2147484898" r:id="rId32"/>
    <p:sldLayoutId id="2147484899" r:id="rId33"/>
    <p:sldLayoutId id="2147484900" r:id="rId34"/>
    <p:sldLayoutId id="2147484901" r:id="rId35"/>
    <p:sldLayoutId id="2147484902" r:id="rId36"/>
    <p:sldLayoutId id="2147484903" r:id="rId37"/>
    <p:sldLayoutId id="2147484904" r:id="rId38"/>
    <p:sldLayoutId id="2147484905" r:id="rId39"/>
    <p:sldLayoutId id="2147484906" r:id="rId40"/>
    <p:sldLayoutId id="2147484907" r:id="rId41"/>
    <p:sldLayoutId id="2147484908" r:id="rId42"/>
    <p:sldLayoutId id="2147484909" r:id="rId43"/>
    <p:sldLayoutId id="2147484910" r:id="rId44"/>
    <p:sldLayoutId id="2147484911" r:id="rId45"/>
    <p:sldLayoutId id="2147484912" r:id="rId46"/>
    <p:sldLayoutId id="2147484913" r:id="rId47"/>
    <p:sldLayoutId id="2147484914" r:id="rId48"/>
    <p:sldLayoutId id="2147484915" r:id="rId49"/>
    <p:sldLayoutId id="2147484916" r:id="rId50"/>
    <p:sldLayoutId id="2147484917" r:id="rId51"/>
    <p:sldLayoutId id="2147484918" r:id="rId52"/>
    <p:sldLayoutId id="2147484919" r:id="rId53"/>
    <p:sldLayoutId id="2147484920" r:id="rId54"/>
    <p:sldLayoutId id="2147484921" r:id="rId55"/>
    <p:sldLayoutId id="2147484922" r:id="rId56"/>
    <p:sldLayoutId id="2147484923" r:id="rId57"/>
    <p:sldLayoutId id="2147484924" r:id="rId58"/>
    <p:sldLayoutId id="2147484925" r:id="rId59"/>
    <p:sldLayoutId id="2147484926" r:id="rId60"/>
    <p:sldLayoutId id="2147484927" r:id="rId61"/>
    <p:sldLayoutId id="2147484928" r:id="rId62"/>
    <p:sldLayoutId id="2147484929" r:id="rId63"/>
    <p:sldLayoutId id="2147484930" r:id="rId64"/>
    <p:sldLayoutId id="2147484931" r:id="rId65"/>
    <p:sldLayoutId id="2147484932" r:id="rId66"/>
    <p:sldLayoutId id="2147484933" r:id="rId67"/>
    <p:sldLayoutId id="2147484934" r:id="rId68"/>
    <p:sldLayoutId id="2147484935" r:id="rId69"/>
    <p:sldLayoutId id="2147484936" r:id="rId70"/>
    <p:sldLayoutId id="2147484937" r:id="rId71"/>
    <p:sldLayoutId id="2147484938" r:id="rId72"/>
    <p:sldLayoutId id="2147484939" r:id="rId73"/>
    <p:sldLayoutId id="2147484940" r:id="rId74"/>
    <p:sldLayoutId id="2147484941" r:id="rId75"/>
    <p:sldLayoutId id="2147484942" r:id="rId76"/>
    <p:sldLayoutId id="2147484943" r:id="rId77"/>
    <p:sldLayoutId id="2147484944" r:id="rId78"/>
    <p:sldLayoutId id="2147484945" r:id="rId79"/>
    <p:sldLayoutId id="2147484946" r:id="rId80"/>
    <p:sldLayoutId id="2147484947" r:id="rId81"/>
    <p:sldLayoutId id="2147484948" r:id="rId82"/>
    <p:sldLayoutId id="2147484949" r:id="rId83"/>
    <p:sldLayoutId id="2147484950" r:id="rId84"/>
    <p:sldLayoutId id="2147484951" r:id="rId85"/>
    <p:sldLayoutId id="2147484952" r:id="rId86"/>
    <p:sldLayoutId id="2147484953" r:id="rId87"/>
    <p:sldLayoutId id="2147484954" r:id="rId88"/>
    <p:sldLayoutId id="2147484955" r:id="rId89"/>
    <p:sldLayoutId id="2147484956" r:id="rId90"/>
    <p:sldLayoutId id="2147484957" r:id="rId91"/>
    <p:sldLayoutId id="2147484958" r:id="rId92"/>
    <p:sldLayoutId id="2147484959" r:id="rId93"/>
    <p:sldLayoutId id="2147484960" r:id="rId94"/>
    <p:sldLayoutId id="2147484961" r:id="rId95"/>
    <p:sldLayoutId id="2147484962" r:id="rId96"/>
    <p:sldLayoutId id="2147484963" r:id="rId97"/>
    <p:sldLayoutId id="2147484964" r:id="rId98"/>
    <p:sldLayoutId id="2147484965" r:id="rId99"/>
    <p:sldLayoutId id="2147484966" r:id="rId100"/>
    <p:sldLayoutId id="2147484967" r:id="rId101"/>
    <p:sldLayoutId id="2147484968" r:id="rId102"/>
    <p:sldLayoutId id="2147484969" r:id="rId103"/>
    <p:sldLayoutId id="2147484970" r:id="rId104"/>
    <p:sldLayoutId id="2147484971" r:id="rId105"/>
    <p:sldLayoutId id="2147484972" r:id="rId106"/>
    <p:sldLayoutId id="2147484973" r:id="rId107"/>
    <p:sldLayoutId id="2147484974" r:id="rId108"/>
    <p:sldLayoutId id="2147484975" r:id="rId109"/>
    <p:sldLayoutId id="2147484976" r:id="rId110"/>
    <p:sldLayoutId id="2147484977" r:id="rId111"/>
    <p:sldLayoutId id="2147484978" r:id="rId112"/>
    <p:sldLayoutId id="2147484979" r:id="rId113"/>
    <p:sldLayoutId id="2147484980" r:id="rId114"/>
    <p:sldLayoutId id="2147484981" r:id="rId115"/>
    <p:sldLayoutId id="2147484982" r:id="rId116"/>
    <p:sldLayoutId id="2147484983" r:id="rId117"/>
    <p:sldLayoutId id="2147484984" r:id="rId118"/>
    <p:sldLayoutId id="2147484985" r:id="rId119"/>
    <p:sldLayoutId id="2147484986" r:id="rId120"/>
    <p:sldLayoutId id="2147484987" r:id="rId121"/>
    <p:sldLayoutId id="2147484988" r:id="rId122"/>
    <p:sldLayoutId id="2147484989" r:id="rId123"/>
    <p:sldLayoutId id="2147484990" r:id="rId124"/>
    <p:sldLayoutId id="2147484991" r:id="rId125"/>
    <p:sldLayoutId id="2147484992" r:id="rId126"/>
    <p:sldLayoutId id="2147484993" r:id="rId127"/>
    <p:sldLayoutId id="2147484994" r:id="rId128"/>
    <p:sldLayoutId id="2147484995" r:id="rId129"/>
    <p:sldLayoutId id="2147484996" r:id="rId130"/>
    <p:sldLayoutId id="2147484997" r:id="rId131"/>
    <p:sldLayoutId id="2147484998" r:id="rId132"/>
    <p:sldLayoutId id="2147484999" r:id="rId133"/>
    <p:sldLayoutId id="2147485000" r:id="rId134"/>
    <p:sldLayoutId id="2147485001" r:id="rId135"/>
    <p:sldLayoutId id="2147485002" r:id="rId136"/>
    <p:sldLayoutId id="2147485003" r:id="rId137"/>
    <p:sldLayoutId id="2147485004" r:id="rId138"/>
    <p:sldLayoutId id="2147485005" r:id="rId139"/>
    <p:sldLayoutId id="2147485006" r:id="rId140"/>
    <p:sldLayoutId id="2147485007" r:id="rId141"/>
    <p:sldLayoutId id="2147485008" r:id="rId142"/>
    <p:sldLayoutId id="2147485009" r:id="rId143"/>
    <p:sldLayoutId id="2147485010" r:id="rId144"/>
    <p:sldLayoutId id="2147485011" r:id="rId145"/>
    <p:sldLayoutId id="2147485012" r:id="rId146"/>
    <p:sldLayoutId id="2147485013" r:id="rId147"/>
    <p:sldLayoutId id="2147485014" r:id="rId148"/>
    <p:sldLayoutId id="2147485015" r:id="rId149"/>
    <p:sldLayoutId id="2147485016" r:id="rId150"/>
    <p:sldLayoutId id="2147485017" r:id="rId151"/>
    <p:sldLayoutId id="2147485018" r:id="rId152"/>
    <p:sldLayoutId id="2147485019" r:id="rId153"/>
    <p:sldLayoutId id="2147485020" r:id="rId154"/>
    <p:sldLayoutId id="2147485021" r:id="rId155"/>
    <p:sldLayoutId id="2147485022" r:id="rId156"/>
    <p:sldLayoutId id="2147485023" r:id="rId157"/>
    <p:sldLayoutId id="2147485024" r:id="rId158"/>
    <p:sldLayoutId id="2147485025" r:id="rId159"/>
    <p:sldLayoutId id="2147485026" r:id="rId160"/>
    <p:sldLayoutId id="2147485027" r:id="rId161"/>
    <p:sldLayoutId id="2147485028" r:id="rId162"/>
    <p:sldLayoutId id="2147485029" r:id="rId163"/>
    <p:sldLayoutId id="2147485030" r:id="rId164"/>
    <p:sldLayoutId id="2147485031" r:id="rId16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4117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5" r:id="rId1"/>
    <p:sldLayoutId id="2147485036" r:id="rId2"/>
    <p:sldLayoutId id="2147485037" r:id="rId3"/>
    <p:sldLayoutId id="2147485038" r:id="rId4"/>
    <p:sldLayoutId id="2147485039" r:id="rId5"/>
    <p:sldLayoutId id="2147485040" r:id="rId6"/>
    <p:sldLayoutId id="2147485041" r:id="rId7"/>
    <p:sldLayoutId id="2147485042" r:id="rId8"/>
    <p:sldLayoutId id="2147485043" r:id="rId9"/>
    <p:sldLayoutId id="2147485044" r:id="rId10"/>
    <p:sldLayoutId id="2147485045" r:id="rId11"/>
    <p:sldLayoutId id="2147485054" r:id="rId12"/>
    <p:sldLayoutId id="2147485055" r:id="rId13"/>
    <p:sldLayoutId id="2147485056" r:id="rId14"/>
    <p:sldLayoutId id="2147485057" r:id="rId15"/>
    <p:sldLayoutId id="2147485058" r:id="rId16"/>
    <p:sldLayoutId id="2147485059" r:id="rId17"/>
    <p:sldLayoutId id="2147485060" r:id="rId18"/>
    <p:sldLayoutId id="2147485061" r:id="rId19"/>
    <p:sldLayoutId id="2147485062" r:id="rId20"/>
    <p:sldLayoutId id="2147485063" r:id="rId21"/>
    <p:sldLayoutId id="2147485321" r:id="rId22"/>
    <p:sldLayoutId id="2147485322" r:id="rId23"/>
    <p:sldLayoutId id="2147485324" r:id="rId24"/>
    <p:sldLayoutId id="2147485325" r:id="rId25"/>
    <p:sldLayoutId id="2147485326" r:id="rId26"/>
    <p:sldLayoutId id="2147485327" r:id="rId27"/>
    <p:sldLayoutId id="2147485328" r:id="rId28"/>
    <p:sldLayoutId id="2147485330" r:id="rId29"/>
    <p:sldLayoutId id="2147485333" r:id="rId30"/>
    <p:sldLayoutId id="2147485073" r:id="rId31"/>
    <p:sldLayoutId id="2147485311" r:id="rId32"/>
    <p:sldLayoutId id="2147485312" r:id="rId33"/>
    <p:sldLayoutId id="2147485313" r:id="rId34"/>
    <p:sldLayoutId id="2147485314" r:id="rId35"/>
    <p:sldLayoutId id="2147485315" r:id="rId36"/>
    <p:sldLayoutId id="2147485316" r:id="rId37"/>
    <p:sldLayoutId id="2147485317" r:id="rId38"/>
    <p:sldLayoutId id="2147485318" r:id="rId39"/>
    <p:sldLayoutId id="2147485319" r:id="rId40"/>
    <p:sldLayoutId id="2147485320" r:id="rId41"/>
    <p:sldLayoutId id="2147485084" r:id="rId42"/>
    <p:sldLayoutId id="2147485085" r:id="rId43"/>
    <p:sldLayoutId id="2147485086" r:id="rId44"/>
    <p:sldLayoutId id="2147485087" r:id="rId45"/>
    <p:sldLayoutId id="2147485088" r:id="rId46"/>
    <p:sldLayoutId id="2147485089" r:id="rId47"/>
    <p:sldLayoutId id="2147485090" r:id="rId48"/>
    <p:sldLayoutId id="2147485091" r:id="rId49"/>
    <p:sldLayoutId id="2147485092" r:id="rId50"/>
    <p:sldLayoutId id="2147485331" r:id="rId51"/>
    <p:sldLayoutId id="2147485094" r:id="rId52"/>
    <p:sldLayoutId id="2147485095" r:id="rId53"/>
    <p:sldLayoutId id="2147485096" r:id="rId54"/>
    <p:sldLayoutId id="2147485097" r:id="rId55"/>
    <p:sldLayoutId id="2147485098" r:id="rId56"/>
    <p:sldLayoutId id="2147485099" r:id="rId57"/>
    <p:sldLayoutId id="2147485100" r:id="rId58"/>
    <p:sldLayoutId id="2147485101" r:id="rId59"/>
    <p:sldLayoutId id="2147485102" r:id="rId60"/>
    <p:sldLayoutId id="2147485103" r:id="rId61"/>
    <p:sldLayoutId id="2147485104" r:id="rId62"/>
    <p:sldLayoutId id="2147485105" r:id="rId63"/>
    <p:sldLayoutId id="2147485106" r:id="rId64"/>
    <p:sldLayoutId id="2147485107" r:id="rId65"/>
    <p:sldLayoutId id="2147485108" r:id="rId66"/>
    <p:sldLayoutId id="2147485109" r:id="rId67"/>
    <p:sldLayoutId id="2147485110" r:id="rId68"/>
    <p:sldLayoutId id="2147485111" r:id="rId69"/>
    <p:sldLayoutId id="2147485112" r:id="rId70"/>
    <p:sldLayoutId id="2147485113" r:id="rId71"/>
    <p:sldLayoutId id="2147485114" r:id="rId72"/>
    <p:sldLayoutId id="2147485115" r:id="rId73"/>
    <p:sldLayoutId id="2147485116" r:id="rId74"/>
    <p:sldLayoutId id="2147485117" r:id="rId75"/>
    <p:sldLayoutId id="2147485118" r:id="rId76"/>
    <p:sldLayoutId id="2147485119" r:id="rId77"/>
    <p:sldLayoutId id="2147485120" r:id="rId78"/>
    <p:sldLayoutId id="2147485121" r:id="rId79"/>
    <p:sldLayoutId id="2147485122" r:id="rId80"/>
    <p:sldLayoutId id="2147485123" r:id="rId81"/>
    <p:sldLayoutId id="2147485124" r:id="rId82"/>
    <p:sldLayoutId id="2147485125" r:id="rId83"/>
    <p:sldLayoutId id="2147485126" r:id="rId84"/>
    <p:sldLayoutId id="2147485127" r:id="rId85"/>
    <p:sldLayoutId id="2147485128" r:id="rId86"/>
    <p:sldLayoutId id="2147485129" r:id="rId87"/>
    <p:sldLayoutId id="2147485130" r:id="rId88"/>
    <p:sldLayoutId id="2147485131" r:id="rId89"/>
    <p:sldLayoutId id="2147485132" r:id="rId90"/>
    <p:sldLayoutId id="2147485133" r:id="rId91"/>
    <p:sldLayoutId id="2147485134" r:id="rId92"/>
    <p:sldLayoutId id="2147485135" r:id="rId93"/>
    <p:sldLayoutId id="2147485136" r:id="rId94"/>
    <p:sldLayoutId id="2147485137" r:id="rId95"/>
    <p:sldLayoutId id="2147485138" r:id="rId96"/>
    <p:sldLayoutId id="2147485139" r:id="rId97"/>
    <p:sldLayoutId id="2147485140" r:id="rId98"/>
    <p:sldLayoutId id="2147485141" r:id="rId99"/>
    <p:sldLayoutId id="2147485142" r:id="rId100"/>
    <p:sldLayoutId id="2147485143" r:id="rId101"/>
    <p:sldLayoutId id="2147485144" r:id="rId102"/>
    <p:sldLayoutId id="2147485145" r:id="rId103"/>
    <p:sldLayoutId id="2147485146" r:id="rId104"/>
    <p:sldLayoutId id="2147485147" r:id="rId105"/>
    <p:sldLayoutId id="2147485148" r:id="rId106"/>
    <p:sldLayoutId id="2147485149" r:id="rId107"/>
    <p:sldLayoutId id="2147485150" r:id="rId108"/>
    <p:sldLayoutId id="2147485151" r:id="rId109"/>
    <p:sldLayoutId id="2147485152" r:id="rId110"/>
    <p:sldLayoutId id="2147485153" r:id="rId111"/>
    <p:sldLayoutId id="2147485154" r:id="rId112"/>
    <p:sldLayoutId id="2147485155" r:id="rId113"/>
    <p:sldLayoutId id="2147485156" r:id="rId114"/>
    <p:sldLayoutId id="2147485157" r:id="rId115"/>
    <p:sldLayoutId id="2147485158" r:id="rId116"/>
    <p:sldLayoutId id="2147485159" r:id="rId117"/>
    <p:sldLayoutId id="2147485160" r:id="rId118"/>
    <p:sldLayoutId id="2147485161" r:id="rId119"/>
    <p:sldLayoutId id="2147485162" r:id="rId120"/>
    <p:sldLayoutId id="2147485163" r:id="rId121"/>
    <p:sldLayoutId id="2147485164" r:id="rId122"/>
    <p:sldLayoutId id="2147485165" r:id="rId123"/>
    <p:sldLayoutId id="2147485166" r:id="rId124"/>
    <p:sldLayoutId id="2147485167" r:id="rId125"/>
    <p:sldLayoutId id="2147485168" r:id="rId126"/>
    <p:sldLayoutId id="2147485169" r:id="rId127"/>
    <p:sldLayoutId id="2147485170" r:id="rId128"/>
    <p:sldLayoutId id="2147485171" r:id="rId129"/>
    <p:sldLayoutId id="2147485172" r:id="rId130"/>
    <p:sldLayoutId id="2147485173" r:id="rId131"/>
    <p:sldLayoutId id="2147485174" r:id="rId132"/>
    <p:sldLayoutId id="2147485175" r:id="rId133"/>
    <p:sldLayoutId id="2147485176" r:id="rId134"/>
    <p:sldLayoutId id="2147485177" r:id="rId135"/>
    <p:sldLayoutId id="2147485178" r:id="rId136"/>
    <p:sldLayoutId id="2147485353" r:id="rId137"/>
    <p:sldLayoutId id="2147485180" r:id="rId138"/>
    <p:sldLayoutId id="2147485181" r:id="rId139"/>
    <p:sldLayoutId id="2147485182" r:id="rId140"/>
    <p:sldLayoutId id="2147485183" r:id="rId141"/>
    <p:sldLayoutId id="2147485184" r:id="rId142"/>
    <p:sldLayoutId id="2147485185" r:id="rId143"/>
    <p:sldLayoutId id="2147485186" r:id="rId144"/>
    <p:sldLayoutId id="2147485187" r:id="rId145"/>
    <p:sldLayoutId id="2147485188" r:id="rId146"/>
    <p:sldLayoutId id="2147485189" r:id="rId147"/>
    <p:sldLayoutId id="2147485190" r:id="rId148"/>
    <p:sldLayoutId id="2147485191" r:id="rId149"/>
    <p:sldLayoutId id="2147485192" r:id="rId150"/>
    <p:sldLayoutId id="2147485193" r:id="rId151"/>
    <p:sldLayoutId id="2147485194" r:id="rId152"/>
    <p:sldLayoutId id="2147485195" r:id="rId153"/>
    <p:sldLayoutId id="2147485196" r:id="rId154"/>
    <p:sldLayoutId id="2147485197" r:id="rId155"/>
    <p:sldLayoutId id="2147485198" r:id="rId156"/>
    <p:sldLayoutId id="2147485199" r:id="rId157"/>
    <p:sldLayoutId id="2147485200" r:id="rId158"/>
    <p:sldLayoutId id="2147485201" r:id="rId159"/>
    <p:sldLayoutId id="2147485202" r:id="rId160"/>
    <p:sldLayoutId id="2147485203" r:id="rId161"/>
    <p:sldLayoutId id="2147485204" r:id="rId162"/>
    <p:sldLayoutId id="2147485205" r:id="rId163"/>
    <p:sldLayoutId id="2147485206" r:id="rId164"/>
    <p:sldLayoutId id="2147485207" r:id="rId16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  <p:sldLayoutId id="2147483669" r:id="rId22"/>
    <p:sldLayoutId id="2147483670" r:id="rId23"/>
    <p:sldLayoutId id="2147483671" r:id="rId24"/>
    <p:sldLayoutId id="2147483672" r:id="rId25"/>
    <p:sldLayoutId id="2147483673" r:id="rId26"/>
    <p:sldLayoutId id="2147483674" r:id="rId27"/>
    <p:sldLayoutId id="2147483675" r:id="rId28"/>
    <p:sldLayoutId id="2147485334" r:id="rId29"/>
    <p:sldLayoutId id="2147483677" r:id="rId30"/>
    <p:sldLayoutId id="2147483678" r:id="rId31"/>
    <p:sldLayoutId id="2147483679" r:id="rId32"/>
    <p:sldLayoutId id="2147483680" r:id="rId33"/>
    <p:sldLayoutId id="2147485332" r:id="rId34"/>
    <p:sldLayoutId id="2147483682" r:id="rId35"/>
    <p:sldLayoutId id="2147483683" r:id="rId36"/>
    <p:sldLayoutId id="2147483684" r:id="rId37"/>
    <p:sldLayoutId id="2147483685" r:id="rId38"/>
    <p:sldLayoutId id="2147483686" r:id="rId39"/>
    <p:sldLayoutId id="2147483687" r:id="rId40"/>
    <p:sldLayoutId id="2147483688" r:id="rId41"/>
    <p:sldLayoutId id="2147483689" r:id="rId42"/>
    <p:sldLayoutId id="2147483690" r:id="rId43"/>
    <p:sldLayoutId id="2147483691" r:id="rId44"/>
    <p:sldLayoutId id="2147483692" r:id="rId45"/>
    <p:sldLayoutId id="2147483693" r:id="rId46"/>
    <p:sldLayoutId id="2147483694" r:id="rId47"/>
    <p:sldLayoutId id="2147483695" r:id="rId48"/>
    <p:sldLayoutId id="2147483696" r:id="rId49"/>
    <p:sldLayoutId id="2147483697" r:id="rId50"/>
    <p:sldLayoutId id="2147483698" r:id="rId51"/>
    <p:sldLayoutId id="2147483699" r:id="rId52"/>
    <p:sldLayoutId id="2147483700" r:id="rId53"/>
    <p:sldLayoutId id="2147484046" r:id="rId54"/>
    <p:sldLayoutId id="2147484047" r:id="rId55"/>
    <p:sldLayoutId id="2147483703" r:id="rId56"/>
    <p:sldLayoutId id="2147484048" r:id="rId57"/>
    <p:sldLayoutId id="2147484049" r:id="rId58"/>
    <p:sldLayoutId id="2147484050" r:id="rId59"/>
    <p:sldLayoutId id="2147484051" r:id="rId60"/>
    <p:sldLayoutId id="2147484052" r:id="rId61"/>
    <p:sldLayoutId id="2147484053" r:id="rId62"/>
    <p:sldLayoutId id="2147484054" r:id="rId63"/>
    <p:sldLayoutId id="2147484055" r:id="rId64"/>
    <p:sldLayoutId id="2147484056" r:id="rId65"/>
    <p:sldLayoutId id="2147484057" r:id="rId66"/>
    <p:sldLayoutId id="2147484058" r:id="rId67"/>
    <p:sldLayoutId id="2147484059" r:id="rId68"/>
    <p:sldLayoutId id="2147484060" r:id="rId69"/>
    <p:sldLayoutId id="2147484061" r:id="rId70"/>
    <p:sldLayoutId id="2147484062" r:id="rId71"/>
    <p:sldLayoutId id="2147484063" r:id="rId72"/>
    <p:sldLayoutId id="2147483720" r:id="rId73"/>
    <p:sldLayoutId id="2147484064" r:id="rId74"/>
    <p:sldLayoutId id="2147484065" r:id="rId75"/>
    <p:sldLayoutId id="2147483723" r:id="rId76"/>
    <p:sldLayoutId id="2147483724" r:id="rId77"/>
    <p:sldLayoutId id="2147483725" r:id="rId78"/>
    <p:sldLayoutId id="2147483726" r:id="rId79"/>
    <p:sldLayoutId id="2147483727" r:id="rId80"/>
    <p:sldLayoutId id="2147483728" r:id="rId81"/>
    <p:sldLayoutId id="2147483729" r:id="rId82"/>
    <p:sldLayoutId id="2147483730" r:id="rId83"/>
    <p:sldLayoutId id="2147483731" r:id="rId84"/>
    <p:sldLayoutId id="2147483732" r:id="rId85"/>
    <p:sldLayoutId id="2147483733" r:id="rId86"/>
    <p:sldLayoutId id="2147483734" r:id="rId87"/>
    <p:sldLayoutId id="2147483735" r:id="rId88"/>
    <p:sldLayoutId id="2147485329" r:id="rId89"/>
    <p:sldLayoutId id="2147483737" r:id="rId90"/>
    <p:sldLayoutId id="2147483738" r:id="rId91"/>
    <p:sldLayoutId id="2147483739" r:id="rId92"/>
    <p:sldLayoutId id="2147483740" r:id="rId93"/>
    <p:sldLayoutId id="2147485323" r:id="rId94"/>
    <p:sldLayoutId id="2147483742" r:id="rId95"/>
    <p:sldLayoutId id="2147483743" r:id="rId96"/>
    <p:sldLayoutId id="2147483744" r:id="rId97"/>
    <p:sldLayoutId id="2147483745" r:id="rId98"/>
    <p:sldLayoutId id="2147483746" r:id="rId99"/>
    <p:sldLayoutId id="2147483747" r:id="rId100"/>
    <p:sldLayoutId id="2147483748" r:id="rId101"/>
    <p:sldLayoutId id="2147483749" r:id="rId102"/>
    <p:sldLayoutId id="2147483750" r:id="rId103"/>
    <p:sldLayoutId id="2147483751" r:id="rId104"/>
    <p:sldLayoutId id="2147483752" r:id="rId105"/>
    <p:sldLayoutId id="2147483753" r:id="rId106"/>
    <p:sldLayoutId id="2147483754" r:id="rId107"/>
    <p:sldLayoutId id="2147483755" r:id="rId108"/>
    <p:sldLayoutId id="2147483756" r:id="rId109"/>
    <p:sldLayoutId id="2147485250" r:id="rId110"/>
    <p:sldLayoutId id="2147485251" r:id="rId111"/>
    <p:sldLayoutId id="2147485252" r:id="rId112"/>
    <p:sldLayoutId id="2147485253" r:id="rId113"/>
    <p:sldLayoutId id="2147485254" r:id="rId114"/>
    <p:sldLayoutId id="2147485255" r:id="rId115"/>
    <p:sldLayoutId id="2147485256" r:id="rId116"/>
    <p:sldLayoutId id="2147485257" r:id="rId117"/>
    <p:sldLayoutId id="2147485258" r:id="rId118"/>
    <p:sldLayoutId id="2147485259" r:id="rId119"/>
    <p:sldLayoutId id="2147485260" r:id="rId120"/>
    <p:sldLayoutId id="2147483768" r:id="rId121"/>
    <p:sldLayoutId id="2147483769" r:id="rId122"/>
    <p:sldLayoutId id="2147485261" r:id="rId123"/>
    <p:sldLayoutId id="2147483771" r:id="rId124"/>
    <p:sldLayoutId id="2147483772" r:id="rId125"/>
    <p:sldLayoutId id="2147485264" r:id="rId126"/>
    <p:sldLayoutId id="2147485265" r:id="rId127"/>
    <p:sldLayoutId id="2147483775" r:id="rId128"/>
    <p:sldLayoutId id="2147483776" r:id="rId129"/>
    <p:sldLayoutId id="2147485266" r:id="rId130"/>
    <p:sldLayoutId id="2147485267" r:id="rId131"/>
    <p:sldLayoutId id="2147483779" r:id="rId132"/>
    <p:sldLayoutId id="2147483780" r:id="rId133"/>
    <p:sldLayoutId id="2147485268" r:id="rId134"/>
    <p:sldLayoutId id="2147483782" r:id="rId135"/>
    <p:sldLayoutId id="2147483783" r:id="rId136"/>
    <p:sldLayoutId id="2147483784" r:id="rId137"/>
    <p:sldLayoutId id="2147483785" r:id="rId138"/>
    <p:sldLayoutId id="2147483786" r:id="rId139"/>
    <p:sldLayoutId id="2147483787" r:id="rId140"/>
    <p:sldLayoutId id="2147483788" r:id="rId141"/>
    <p:sldLayoutId id="2147483789" r:id="rId142"/>
    <p:sldLayoutId id="2147483790" r:id="rId143"/>
    <p:sldLayoutId id="2147483791" r:id="rId144"/>
    <p:sldLayoutId id="2147483792" r:id="rId145"/>
    <p:sldLayoutId id="2147483793" r:id="rId146"/>
    <p:sldLayoutId id="2147483794" r:id="rId147"/>
    <p:sldLayoutId id="2147483795" r:id="rId148"/>
    <p:sldLayoutId id="2147483796" r:id="rId149"/>
    <p:sldLayoutId id="2147483797" r:id="rId150"/>
    <p:sldLayoutId id="2147483798" r:id="rId151"/>
    <p:sldLayoutId id="2147483799" r:id="rId152"/>
    <p:sldLayoutId id="2147483800" r:id="rId153"/>
    <p:sldLayoutId id="2147483801" r:id="rId154"/>
    <p:sldLayoutId id="2147483802" r:id="rId155"/>
    <p:sldLayoutId id="2147483803" r:id="rId156"/>
    <p:sldLayoutId id="2147483804" r:id="rId157"/>
    <p:sldLayoutId id="2147483805" r:id="rId158"/>
    <p:sldLayoutId id="2147483806" r:id="rId159"/>
    <p:sldLayoutId id="2147483807" r:id="rId160"/>
    <p:sldLayoutId id="2147483808" r:id="rId161"/>
    <p:sldLayoutId id="2147483809" r:id="rId162"/>
    <p:sldLayoutId id="2147483810" r:id="rId163"/>
    <p:sldLayoutId id="2147483811" r:id="rId164"/>
    <p:sldLayoutId id="2147483812" r:id="rId165"/>
    <p:sldLayoutId id="2147483813" r:id="rId166"/>
    <p:sldLayoutId id="2147483814" r:id="rId167"/>
    <p:sldLayoutId id="2147483815" r:id="rId168"/>
    <p:sldLayoutId id="2147483816" r:id="rId169"/>
    <p:sldLayoutId id="2147483817" r:id="rId170"/>
    <p:sldLayoutId id="2147483818" r:id="rId171"/>
    <p:sldLayoutId id="2147483819" r:id="rId172"/>
    <p:sldLayoutId id="2147483820" r:id="rId173"/>
    <p:sldLayoutId id="2147483821" r:id="rId174"/>
    <p:sldLayoutId id="2147483822" r:id="rId175"/>
    <p:sldLayoutId id="2147483823" r:id="rId176"/>
    <p:sldLayoutId id="2147483824" r:id="rId177"/>
    <p:sldLayoutId id="2147483825" r:id="rId178"/>
    <p:sldLayoutId id="2147483826" r:id="rId179"/>
    <p:sldLayoutId id="2147483827" r:id="rId180"/>
    <p:sldLayoutId id="2147483828" r:id="rId181"/>
    <p:sldLayoutId id="2147483829" r:id="rId182"/>
    <p:sldLayoutId id="2147483830" r:id="rId183"/>
    <p:sldLayoutId id="2147483831" r:id="rId184"/>
    <p:sldLayoutId id="2147483832" r:id="rId185"/>
    <p:sldLayoutId id="2147483833" r:id="rId186"/>
    <p:sldLayoutId id="2147483834" r:id="rId187"/>
    <p:sldLayoutId id="2147483835" r:id="rId188"/>
    <p:sldLayoutId id="2147483836" r:id="rId189"/>
    <p:sldLayoutId id="2147483837" r:id="rId190"/>
    <p:sldLayoutId id="2147483838" r:id="rId191"/>
    <p:sldLayoutId id="2147483839" r:id="rId192"/>
    <p:sldLayoutId id="2147483840" r:id="rId193"/>
    <p:sldLayoutId id="2147483841" r:id="rId194"/>
    <p:sldLayoutId id="2147483842" r:id="rId195"/>
    <p:sldLayoutId id="2147483843" r:id="rId196"/>
    <p:sldLayoutId id="2147483844" r:id="rId19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333">
                <a:solidFill>
                  <a:schemeClr val="dk2"/>
                </a:solidFill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5340" r:id="rId1"/>
    <p:sldLayoutId id="2147485341" r:id="rId2"/>
    <p:sldLayoutId id="2147485342" r:id="rId3"/>
    <p:sldLayoutId id="2147485343" r:id="rId4"/>
    <p:sldLayoutId id="2147485344" r:id="rId5"/>
    <p:sldLayoutId id="2147485345" r:id="rId6"/>
    <p:sldLayoutId id="2147485346" r:id="rId7"/>
    <p:sldLayoutId id="2147485347" r:id="rId8"/>
    <p:sldLayoutId id="2147485348" r:id="rId9"/>
    <p:sldLayoutId id="2147485349" r:id="rId10"/>
    <p:sldLayoutId id="2147485350" r:id="rId11"/>
    <p:sldLayoutId id="2147485351" r:id="rId1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une 22, 2021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6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4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0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68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031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0" r:id="rId1"/>
    <p:sldLayoutId id="2147485281" r:id="rId2"/>
    <p:sldLayoutId id="2147485282" r:id="rId3"/>
    <p:sldLayoutId id="2147485283" r:id="rId4"/>
    <p:sldLayoutId id="2147485284" r:id="rId5"/>
    <p:sldLayoutId id="2147485285" r:id="rId6"/>
    <p:sldLayoutId id="2147485286" r:id="rId7"/>
    <p:sldLayoutId id="2147485287" r:id="rId8"/>
    <p:sldLayoutId id="2147485288" r:id="rId9"/>
    <p:sldLayoutId id="2147485289" r:id="rId10"/>
    <p:sldLayoutId id="2147484622" r:id="rId11"/>
    <p:sldLayoutId id="2147484623" r:id="rId12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CABE15-44AF-4AC9-972E-389AF041679F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6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4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0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68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379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0" r:id="rId1"/>
    <p:sldLayoutId id="2147485216" r:id="rId2"/>
    <p:sldLayoutId id="2147485217" r:id="rId3"/>
    <p:sldLayoutId id="2147485218" r:id="rId4"/>
    <p:sldLayoutId id="2147485219" r:id="rId5"/>
    <p:sldLayoutId id="2147485220" r:id="rId6"/>
    <p:sldLayoutId id="2147485221" r:id="rId7"/>
    <p:sldLayoutId id="2147485222" r:id="rId8"/>
    <p:sldLayoutId id="2147485223" r:id="rId9"/>
    <p:sldLayoutId id="2147485224" r:id="rId10"/>
    <p:sldLayoutId id="2147485225" r:id="rId11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2108200"/>
            <a:ext cx="7112000" cy="3657600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Rectangle 10"/>
          <p:cNvSpPr/>
          <p:nvPr userDrawn="1"/>
        </p:nvSpPr>
        <p:spPr>
          <a:xfrm>
            <a:off x="0" y="2053939"/>
            <a:ext cx="711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Slide Number Placeholder 3"/>
          <p:cNvSpPr txBox="1">
            <a:spLocks/>
          </p:cNvSpPr>
          <p:nvPr userDrawn="1"/>
        </p:nvSpPr>
        <p:spPr>
          <a:xfrm>
            <a:off x="11074400" y="117475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>
                <a:solidFill>
                  <a:srgbClr val="002D73"/>
                </a:solidFill>
              </a:rPr>
              <a:pPr/>
              <a:t>‹#›</a:t>
            </a:fld>
            <a:endParaRPr lang="en-US" sz="1600">
              <a:solidFill>
                <a:srgbClr val="002D73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600" y="6070600"/>
            <a:ext cx="2011408" cy="512064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E2B910-904B-4A74-B5B9-F94C78A10F9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6169" y="60706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967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4" r:id="rId1"/>
  </p:sldLayoutIdLst>
  <p:hf sldNum="0" hdr="0" ftr="0" dt="0"/>
  <p:txStyles>
    <p:titleStyle>
      <a:lvl1pPr algn="ctr" defTabSz="121914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10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6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6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6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36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5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4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74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389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4" r:id="rId1"/>
    <p:sldLayoutId id="2147483935" r:id="rId2"/>
    <p:sldLayoutId id="2147483936" r:id="rId3"/>
    <p:sldLayoutId id="2147483937" r:id="rId4"/>
    <p:sldLayoutId id="2147483938" r:id="rId5"/>
    <p:sldLayoutId id="2147483939" r:id="rId6"/>
    <p:sldLayoutId id="2147483940" r:id="rId7"/>
    <p:sldLayoutId id="2147483941" r:id="rId8"/>
    <p:sldLayoutId id="2147483942" r:id="rId9"/>
    <p:sldLayoutId id="2147483943" r:id="rId10"/>
    <p:sldLayoutId id="2147483944" r:id="rId11"/>
  </p:sldLayoutIdLst>
  <p:hf sldNum="0" hdr="0" ftr="0" dt="0"/>
  <p:txStyles>
    <p:titleStyle>
      <a:lvl1pPr algn="ctr" defTabSz="1219078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54" indent="-457154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02" indent="-380964" algn="l" defTabSz="1219078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847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387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2926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464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005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544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082" indent="-304771" algn="l" defTabSz="12190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9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7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1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58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96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234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7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313" algn="l" defTabSz="1219078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ONFIDENTIAL: NYSBEIP EXPERT PANEL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6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4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F032D57-A2E1-45E1-A59E-37FAEBA832EA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32800" y="6004047"/>
            <a:ext cx="2011408" cy="512064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B44AC7DB-05B3-472F-93EF-44EC73CBD7C9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1368" y="6004047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63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1" r:id="rId1"/>
    <p:sldLayoutId id="2147485292" r:id="rId2"/>
    <p:sldLayoutId id="2147485293" r:id="rId3"/>
    <p:sldLayoutId id="2147485294" r:id="rId4"/>
    <p:sldLayoutId id="2147485295" r:id="rId5"/>
    <p:sldLayoutId id="2147485296" r:id="rId6"/>
    <p:sldLayoutId id="2147485297" r:id="rId7"/>
    <p:sldLayoutId id="2147485298" r:id="rId8"/>
    <p:sldLayoutId id="2147485299" r:id="rId9"/>
    <p:sldLayoutId id="2147485300" r:id="rId10"/>
    <p:sldLayoutId id="2147485301" r:id="rId11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86BDC2-3C97-42B9-9AF0-122889C3C263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8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5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0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69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69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hf sldNum="0" hdr="0" ftr="0" dt="0"/>
  <p:txStyles>
    <p:titleStyle>
      <a:lvl1pPr algn="ctr" defTabSz="121914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4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CABE15-44AF-4AC9-972E-389AF041679F}" type="datetime1">
              <a:rPr lang="en-US" smtClean="0"/>
              <a:t>6/6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4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DRAFT FOR REVIEW PURPOSES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4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9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6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200" smtClean="0"/>
              <a:pPr/>
              <a:t>‹#›</a:t>
            </a:fld>
            <a:endParaRPr lang="en-US" sz="12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398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0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70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507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2" r:id="rId1"/>
    <p:sldLayoutId id="2147484814" r:id="rId2"/>
    <p:sldLayoutId id="2147485303" r:id="rId3"/>
    <p:sldLayoutId id="2147485304" r:id="rId4"/>
    <p:sldLayoutId id="2147485305" r:id="rId5"/>
    <p:sldLayoutId id="2147485306" r:id="rId6"/>
    <p:sldLayoutId id="2147485307" r:id="rId7"/>
    <p:sldLayoutId id="2147485308" r:id="rId8"/>
    <p:sldLayoutId id="2147485309" r:id="rId9"/>
    <p:sldLayoutId id="2147485310" r:id="rId10"/>
    <p:sldLayoutId id="2147483845" r:id="rId11"/>
  </p:sldLayoutIdLst>
  <p:hf sldNum="0" hdr="0" ftr="0" dt="0"/>
  <p:txStyles>
    <p:titleStyle>
      <a:lvl1pPr algn="ctr" defTabSz="914377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1" indent="-342891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2" indent="-28574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54AA7-8025-408E-B296-E2B43FE0863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83126"/>
            <a:ext cx="12192000" cy="399473"/>
          </a:xfrm>
          <a:prstGeom prst="rect">
            <a:avLst/>
          </a:prstGeom>
          <a:solidFill>
            <a:srgbClr val="002D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074400" y="117474"/>
            <a:ext cx="9144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b="1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DF52EC2-2C0B-4C03-9888-0B25156ED88D}" type="slidenum">
              <a:rPr lang="en-US" sz="1600" smtClean="0"/>
              <a:pPr/>
              <a:t>‹#›</a:t>
            </a:fld>
            <a:endParaRPr lang="en-US" sz="1600"/>
          </a:p>
        </p:txBody>
      </p:sp>
      <p:sp>
        <p:nvSpPr>
          <p:cNvPr id="10" name="Rectangle 9"/>
          <p:cNvSpPr/>
          <p:nvPr userDrawn="1"/>
        </p:nvSpPr>
        <p:spPr>
          <a:xfrm>
            <a:off x="0" y="-25400"/>
            <a:ext cx="12192000" cy="108525"/>
          </a:xfrm>
          <a:prstGeom prst="rect">
            <a:avLst/>
          </a:prstGeom>
          <a:solidFill>
            <a:srgbClr val="5532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0800" y="5969000"/>
            <a:ext cx="2011408" cy="512064"/>
          </a:xfrm>
          <a:prstGeom prst="rect">
            <a:avLst/>
          </a:prstGeom>
        </p:spPr>
      </p:pic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BD6BCB-CE90-4123-9393-90F8F75DC51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68" y="5969000"/>
            <a:ext cx="1122633" cy="512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174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  <p:sldLayoutId id="2147483852" r:id="rId6"/>
    <p:sldLayoutId id="2147483853" r:id="rId7"/>
    <p:sldLayoutId id="2147483854" r:id="rId8"/>
    <p:sldLayoutId id="2147483855" r:id="rId9"/>
    <p:sldLayoutId id="2147483856" r:id="rId10"/>
    <p:sldLayoutId id="2147483857" r:id="rId11"/>
  </p:sldLayoutIdLst>
  <p:hf sldNum="0" hdr="0" ftr="0" dt="0"/>
  <p:txStyles>
    <p:titleStyle>
      <a:lvl1pPr algn="ctr" defTabSz="1219170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42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81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3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svg"/><Relationship Id="rId3" Type="http://schemas.openxmlformats.org/officeDocument/2006/relationships/image" Target="../media/image92.jpe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95.svg"/><Relationship Id="rId5" Type="http://schemas.openxmlformats.org/officeDocument/2006/relationships/image" Target="../media/image94.png"/><Relationship Id="rId10" Type="http://schemas.openxmlformats.org/officeDocument/2006/relationships/image" Target="../media/image99.svg"/><Relationship Id="rId4" Type="http://schemas.openxmlformats.org/officeDocument/2006/relationships/image" Target="../media/image93.jpeg"/><Relationship Id="rId9" Type="http://schemas.openxmlformats.org/officeDocument/2006/relationships/image" Target="../media/image98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png"/><Relationship Id="rId1" Type="http://schemas.openxmlformats.org/officeDocument/2006/relationships/slideLayout" Target="../slideLayouts/slideLayout1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63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microsoft.com/office/2018/10/relationships/comments" Target="../comments/modernComment_38B_EC4243AA.xml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67.xml"/><Relationship Id="rId4" Type="http://schemas.openxmlformats.org/officeDocument/2006/relationships/image" Target="../media/image10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hyperlink" Target="https://sites.google.com/picturemotion.com/aftershock-website-toolkit/home" TargetMode="External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bs.org/show/birthing-justice/" TargetMode="External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to.pbs.org/3nSRyYa" TargetMode="Externa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us02web.zoom.us/meeting/register/tZUqceuoqDgrHdI5askJa_GYI7veYtbHx9oq#/registration" TargetMode="External"/><Relationship Id="rId2" Type="http://schemas.openxmlformats.org/officeDocument/2006/relationships/image" Target="../media/image107.jpeg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3.xml"/><Relationship Id="rId4" Type="http://schemas.openxmlformats.org/officeDocument/2006/relationships/image" Target="../media/image109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01.xml"/><Relationship Id="rId4" Type="http://schemas.openxmlformats.org/officeDocument/2006/relationships/image" Target="../media/image11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95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png"/><Relationship Id="rId9" Type="http://schemas.openxmlformats.org/officeDocument/2006/relationships/image" Target="../media/image7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0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79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96.xml"/><Relationship Id="rId4" Type="http://schemas.openxmlformats.org/officeDocument/2006/relationships/image" Target="../media/image7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41423" y="1418093"/>
            <a:ext cx="5130670" cy="2700755"/>
          </a:xfrm>
        </p:spPr>
        <p:txBody>
          <a:bodyPr>
            <a:normAutofit fontScale="90000"/>
          </a:bodyPr>
          <a:lstStyle/>
          <a:p>
            <a:r>
              <a:rPr lang="en-US">
                <a:ea typeface="Lato Medium"/>
                <a:cs typeface="Lato Medium"/>
              </a:rPr>
              <a:t>BE Teams Call: Key Takeaways from F2F and Next Steps for Getting to Green on Key Strategies</a:t>
            </a:r>
            <a:endParaRPr lang="en-US">
              <a:cs typeface="Lato Medium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41423" y="4198183"/>
            <a:ext cx="5194433" cy="986569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ea typeface="Lato"/>
                <a:cs typeface="Lato"/>
              </a:rPr>
              <a:t>Monday, June 5th, 2023</a:t>
            </a:r>
          </a:p>
        </p:txBody>
      </p:sp>
      <p:pic>
        <p:nvPicPr>
          <p:cNvPr id="5" name="object 10" descr="Woman kissing newborn baby"/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082" y="1267275"/>
            <a:ext cx="5589946" cy="383748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583965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E8D41CF8-5232-42BC-8D05-AFEDE21539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11256"/>
            <a:ext cx="12192000" cy="6869256"/>
          </a:xfrm>
          <a:prstGeom prst="rect">
            <a:avLst/>
          </a:prstGeom>
          <a:solidFill>
            <a:schemeClr val="bg1">
              <a:lumMod val="85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ounded Rectangle 5">
            <a:extLst>
              <a:ext uri="{FF2B5EF4-FFF2-40B4-BE49-F238E27FC236}">
                <a16:creationId xmlns:a16="http://schemas.microsoft.com/office/drawing/2014/main" id="{49237091-E62C-4878-AA4C-0B9995ADB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38200" y="1828801"/>
            <a:ext cx="10515600" cy="436245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9525">
            <a:solidFill>
              <a:srgbClr val="C8CACA"/>
            </a:solidFill>
          </a:ln>
          <a:effectLst>
            <a:outerShdw blurRad="57150" dist="19050" dir="5400000" algn="t" rotWithShape="0">
              <a:prstClr val="black">
                <a:alpha val="6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2" descr="Chart, pie chart&#10;&#10;Description automatically generated">
            <a:extLst>
              <a:ext uri="{FF2B5EF4-FFF2-40B4-BE49-F238E27FC236}">
                <a16:creationId xmlns:a16="http://schemas.microsoft.com/office/drawing/2014/main" id="{D7259E8D-3B7D-A483-7DAA-F311D20D6D2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7288" y="2178050"/>
            <a:ext cx="4903788" cy="3659188"/>
          </a:xfrm>
          <a:prstGeom prst="rect">
            <a:avLst/>
          </a:prstGeom>
        </p:spPr>
      </p:pic>
      <p:pic>
        <p:nvPicPr>
          <p:cNvPr id="13" name="Picture 13" descr="Chart, pie chart&#10;&#10;Description automatically generated">
            <a:extLst>
              <a:ext uri="{FF2B5EF4-FFF2-40B4-BE49-F238E27FC236}">
                <a16:creationId xmlns:a16="http://schemas.microsoft.com/office/drawing/2014/main" id="{3813F412-0DEA-9982-8EC8-E9DE96F41C6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7750" y="2178050"/>
            <a:ext cx="4903788" cy="36591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97BF9F6-D31D-0F40-7B9C-9C34C3831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45" y="321993"/>
            <a:ext cx="8689675" cy="1339940"/>
          </a:xfrm>
        </p:spPr>
        <p:txBody>
          <a:bodyPr vert="horz" lIns="91440" tIns="45720" rIns="91440" bIns="45720" rtlCol="0"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Summary of PREM Survey Completion: Demographic Breakdown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D19FD0-829E-DB70-3C52-505DAB630E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10</a:t>
            </a:fld>
            <a:endParaRPr lang="en-US">
              <a:solidFill>
                <a:schemeClr val="tx1">
                  <a:tint val="75000"/>
                </a:scheme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1DDFCF-670D-963D-CF94-DC588E96B1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685905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Lato Medium"/>
                <a:cs typeface="Calibri"/>
              </a:rPr>
              <a:t>Key Takeaways from Face-to-Fac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4011275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0E20F-BB79-4D06-1C69-0B5186C4D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332" y="142100"/>
            <a:ext cx="6722946" cy="1573367"/>
          </a:xfrm>
        </p:spPr>
        <p:txBody>
          <a:bodyPr/>
          <a:lstStyle/>
          <a:p>
            <a:r>
              <a:rPr lang="en-US" sz="3200" err="1">
                <a:ea typeface="Lato Medium"/>
                <a:cs typeface="Lato Medium"/>
              </a:rPr>
              <a:t>LaPQC</a:t>
            </a:r>
            <a:r>
              <a:rPr lang="en-US" sz="3200">
                <a:ea typeface="Lato Medium"/>
                <a:cs typeface="Lato Medium"/>
              </a:rPr>
              <a:t>: Achieving Safe, Equitable, and Dignified Births</a:t>
            </a:r>
            <a:br>
              <a:rPr lang="en-US" sz="2400">
                <a:ea typeface="Lato Medium"/>
                <a:cs typeface="Lato Medium"/>
              </a:rPr>
            </a:br>
            <a:r>
              <a:rPr lang="en-US" sz="2400" i="1">
                <a:ea typeface="Lato Medium"/>
                <a:cs typeface="Lato Medium"/>
              </a:rPr>
              <a:t>Dr. Veronica Gillispie-Bell</a:t>
            </a:r>
            <a:endParaRPr lang="en-US" sz="2400" i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EDFA5-085C-3D9D-12B5-9A897F0CA8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E5DE8-6914-578D-2190-C9BD66FD4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A3BD88EC-7057-C5AA-E9C1-FF7F2F2F2AEE}"/>
              </a:ext>
            </a:extLst>
          </p:cNvPr>
          <p:cNvSpPr/>
          <p:nvPr/>
        </p:nvSpPr>
        <p:spPr>
          <a:xfrm>
            <a:off x="768195" y="1808975"/>
            <a:ext cx="3580780" cy="2081560"/>
          </a:xfrm>
          <a:prstGeom prst="wedgeRoundRectCallou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cs typeface="Calibri"/>
              </a:rPr>
              <a:t>"You cannot have quality without equity"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B959788E-202E-31FC-8A7D-3B8ECB32166F}"/>
              </a:ext>
            </a:extLst>
          </p:cNvPr>
          <p:cNvSpPr/>
          <p:nvPr/>
        </p:nvSpPr>
        <p:spPr>
          <a:xfrm>
            <a:off x="7714212" y="4121042"/>
            <a:ext cx="3580779" cy="2075364"/>
          </a:xfrm>
          <a:prstGeom prst="wedgeRoundRectCallou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cs typeface="Calibri"/>
              </a:rPr>
              <a:t>"Make your vision clear and communicate it often"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BF85E72A-3DF7-E441-2063-72BD9F1391DC}"/>
              </a:ext>
            </a:extLst>
          </p:cNvPr>
          <p:cNvSpPr/>
          <p:nvPr/>
        </p:nvSpPr>
        <p:spPr>
          <a:xfrm>
            <a:off x="5786244" y="1716047"/>
            <a:ext cx="3717071" cy="2143511"/>
          </a:xfrm>
          <a:prstGeom prst="wedgeRoundRectCallout">
            <a:avLst/>
          </a:prstGeom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cs typeface="Calibri"/>
              </a:rPr>
              <a:t>"Anticipate resistance, it's part of the change process"</a:t>
            </a: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2CF18487-4E1C-F81B-BBBB-AA2FCE512D8B}"/>
              </a:ext>
            </a:extLst>
          </p:cNvPr>
          <p:cNvSpPr/>
          <p:nvPr/>
        </p:nvSpPr>
        <p:spPr>
          <a:xfrm>
            <a:off x="2558584" y="4113560"/>
            <a:ext cx="3580779" cy="2081561"/>
          </a:xfrm>
          <a:prstGeom prst="wedgeRoundRectCallout">
            <a:avLst/>
          </a:prstGeom>
          <a:solidFill>
            <a:srgbClr val="7030A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"Meet people where they are"</a:t>
            </a:r>
          </a:p>
        </p:txBody>
      </p:sp>
    </p:spTree>
    <p:extLst>
      <p:ext uri="{BB962C8B-B14F-4D97-AF65-F5344CB8AC3E}">
        <p14:creationId xmlns:p14="http://schemas.microsoft.com/office/powerpoint/2010/main" val="32553648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10E20F-BB79-4D06-1C69-0B5186C4D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600" y="135905"/>
            <a:ext cx="8408019" cy="1573367"/>
          </a:xfrm>
        </p:spPr>
        <p:txBody>
          <a:bodyPr/>
          <a:lstStyle/>
          <a:p>
            <a:r>
              <a:rPr lang="en-US" sz="3200">
                <a:ea typeface="Lato Medium"/>
                <a:cs typeface="Lato Medium"/>
              </a:rPr>
              <a:t>Engaging Patient/Community Partners to Optimize Birth Equity</a:t>
            </a:r>
            <a:br>
              <a:rPr lang="en-US" sz="2400">
                <a:ea typeface="Lato Medium"/>
                <a:cs typeface="Lato Medium"/>
              </a:rPr>
            </a:br>
            <a:r>
              <a:rPr lang="en-US" sz="2400" i="1">
                <a:ea typeface="Lato Medium"/>
                <a:cs typeface="Lato Medium"/>
              </a:rPr>
              <a:t>Dr. Ebony Carter, Cheron Phillips, and Richelle Smith</a:t>
            </a:r>
            <a:endParaRPr lang="en-US" sz="2400" i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EEEDFA5-085C-3D9D-12B5-9A897F0CA8D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0E5DE8-6914-578D-2190-C9BD66FD4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Speech Bubble: Rectangle with Corners Rounded 5">
            <a:extLst>
              <a:ext uri="{FF2B5EF4-FFF2-40B4-BE49-F238E27FC236}">
                <a16:creationId xmlns:a16="http://schemas.microsoft.com/office/drawing/2014/main" id="{A3BD88EC-7057-C5AA-E9C1-FF7F2F2F2AEE}"/>
              </a:ext>
            </a:extLst>
          </p:cNvPr>
          <p:cNvSpPr/>
          <p:nvPr/>
        </p:nvSpPr>
        <p:spPr>
          <a:xfrm>
            <a:off x="223024" y="1784194"/>
            <a:ext cx="3580780" cy="2081560"/>
          </a:xfrm>
          <a:prstGeom prst="wedgeRoundRectCallout">
            <a:avLst/>
          </a:prstGeom>
          <a:solidFill>
            <a:schemeClr val="accent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>
                <a:cs typeface="Calibri"/>
              </a:rPr>
              <a:t>"Center community voices as partners and leaders"</a:t>
            </a:r>
          </a:p>
        </p:txBody>
      </p:sp>
      <p:sp>
        <p:nvSpPr>
          <p:cNvPr id="8" name="Speech Bubble: Rectangle with Corners Rounded 7">
            <a:extLst>
              <a:ext uri="{FF2B5EF4-FFF2-40B4-BE49-F238E27FC236}">
                <a16:creationId xmlns:a16="http://schemas.microsoft.com/office/drawing/2014/main" id="{B959788E-202E-31FC-8A7D-3B8ECB32166F}"/>
              </a:ext>
            </a:extLst>
          </p:cNvPr>
          <p:cNvSpPr/>
          <p:nvPr/>
        </p:nvSpPr>
        <p:spPr>
          <a:xfrm>
            <a:off x="8401871" y="1791676"/>
            <a:ext cx="3580779" cy="2075364"/>
          </a:xfrm>
          <a:prstGeom prst="wedgeRoundRectCallout">
            <a:avLst/>
          </a:prstGeom>
          <a:solidFill>
            <a:schemeClr val="accent3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cs typeface="Calibri"/>
              </a:rPr>
              <a:t>"Build on community strengths"</a:t>
            </a:r>
          </a:p>
        </p:txBody>
      </p:sp>
      <p:sp>
        <p:nvSpPr>
          <p:cNvPr id="9" name="Speech Bubble: Rectangle with Corners Rounded 8">
            <a:extLst>
              <a:ext uri="{FF2B5EF4-FFF2-40B4-BE49-F238E27FC236}">
                <a16:creationId xmlns:a16="http://schemas.microsoft.com/office/drawing/2014/main" id="{BF85E72A-3DF7-E441-2063-72BD9F1391DC}"/>
              </a:ext>
            </a:extLst>
          </p:cNvPr>
          <p:cNvSpPr/>
          <p:nvPr/>
        </p:nvSpPr>
        <p:spPr>
          <a:xfrm>
            <a:off x="4287025" y="1784193"/>
            <a:ext cx="3617950" cy="2069170"/>
          </a:xfrm>
          <a:prstGeom prst="wedgeRoundRectCallout">
            <a:avLst/>
          </a:prstGeom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800">
                <a:cs typeface="Calibri"/>
              </a:rPr>
              <a:t>"Create opportunities and space"</a:t>
            </a:r>
          </a:p>
        </p:txBody>
      </p:sp>
      <p:sp>
        <p:nvSpPr>
          <p:cNvPr id="10" name="Speech Bubble: Rectangle with Corners Rounded 9">
            <a:extLst>
              <a:ext uri="{FF2B5EF4-FFF2-40B4-BE49-F238E27FC236}">
                <a16:creationId xmlns:a16="http://schemas.microsoft.com/office/drawing/2014/main" id="{476E3319-90A4-0F45-F4BE-8381B592168D}"/>
              </a:ext>
            </a:extLst>
          </p:cNvPr>
          <p:cNvSpPr/>
          <p:nvPr/>
        </p:nvSpPr>
        <p:spPr>
          <a:xfrm>
            <a:off x="6380974" y="4200291"/>
            <a:ext cx="3617949" cy="2081560"/>
          </a:xfrm>
          <a:prstGeom prst="wedgeRoundRectCallout">
            <a:avLst/>
          </a:prstGeom>
          <a:solidFill>
            <a:schemeClr val="accent5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cs typeface="Calibri"/>
              </a:rPr>
              <a:t>"Break out of 'we have always done it this way' and act on what we are learning"</a:t>
            </a:r>
          </a:p>
        </p:txBody>
      </p:sp>
      <p:sp>
        <p:nvSpPr>
          <p:cNvPr id="11" name="Speech Bubble: Rectangle with Corners Rounded 10">
            <a:extLst>
              <a:ext uri="{FF2B5EF4-FFF2-40B4-BE49-F238E27FC236}">
                <a16:creationId xmlns:a16="http://schemas.microsoft.com/office/drawing/2014/main" id="{2CF18487-4E1C-F81B-BBBB-AA2FCE512D8B}"/>
              </a:ext>
            </a:extLst>
          </p:cNvPr>
          <p:cNvSpPr/>
          <p:nvPr/>
        </p:nvSpPr>
        <p:spPr>
          <a:xfrm>
            <a:off x="1610731" y="4200292"/>
            <a:ext cx="3580779" cy="2081561"/>
          </a:xfrm>
          <a:prstGeom prst="wedgeRoundRectCallou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400">
                <a:cs typeface="Calibri"/>
              </a:rPr>
              <a:t>"Increase contribution and collaboration instead of individual acknowledgement"</a:t>
            </a:r>
          </a:p>
        </p:txBody>
      </p:sp>
    </p:spTree>
    <p:extLst>
      <p:ext uri="{BB962C8B-B14F-4D97-AF65-F5344CB8AC3E}">
        <p14:creationId xmlns:p14="http://schemas.microsoft.com/office/powerpoint/2010/main" val="31623433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C541B88-1AE9-40C3-AFD5-967787C197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F17139-31EE-46AC-B04F-DBBD852DD6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89059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2631F-27F5-9796-BACC-6C6ADBBB73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5697"/>
            <a:ext cx="3200400" cy="4238118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bg1"/>
                </a:solidFill>
                <a:ea typeface="Lato Medium"/>
                <a:cs typeface="Lato Medium"/>
              </a:rPr>
              <a:t>Face-to-Face </a:t>
            </a:r>
            <a:br>
              <a:rPr lang="en-US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>
                <a:solidFill>
                  <a:schemeClr val="bg1"/>
                </a:solidFill>
                <a:ea typeface="Lato Medium"/>
                <a:cs typeface="Lato Medium"/>
              </a:rPr>
              <a:t>Breakout </a:t>
            </a:r>
            <a:br>
              <a:rPr lang="en-US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>
                <a:solidFill>
                  <a:schemeClr val="bg1"/>
                </a:solidFill>
                <a:ea typeface="Lato Medium"/>
                <a:cs typeface="Lato Medium"/>
              </a:rPr>
              <a:t>Session Debrief</a:t>
            </a:r>
            <a:endParaRPr lang="en-US">
              <a:solidFill>
                <a:schemeClr val="bg1"/>
              </a:solidFill>
            </a:endParaRPr>
          </a:p>
        </p:txBody>
      </p:sp>
      <p:grpSp>
        <p:nvGrpSpPr>
          <p:cNvPr id="15" name="Graphic 38">
            <a:extLst>
              <a:ext uri="{FF2B5EF4-FFF2-40B4-BE49-F238E27FC236}">
                <a16:creationId xmlns:a16="http://schemas.microsoft.com/office/drawing/2014/main" id="{7CF625D3-71A3-4F30-A096-8EF334E959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202912"/>
            <a:ext cx="1910252" cy="709660"/>
            <a:chOff x="2267504" y="2540250"/>
            <a:chExt cx="1990951" cy="739640"/>
          </a:xfrm>
          <a:solidFill>
            <a:schemeClr val="bg1"/>
          </a:solidFill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6754E2F-F56E-4BA3-99DD-8EBF110E343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54025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5835 h 286230"/>
                <a:gd name="connsiteX8" fmla="*/ 255835 w 1990951"/>
                <a:gd name="connsiteY8" fmla="*/ 0 h 286230"/>
                <a:gd name="connsiteX9" fmla="*/ 504071 w 1990951"/>
                <a:gd name="connsiteY9" fmla="*/ 245703 h 286230"/>
                <a:gd name="connsiteX10" fmla="*/ 749773 w 1990951"/>
                <a:gd name="connsiteY10" fmla="*/ 0 h 286230"/>
                <a:gd name="connsiteX11" fmla="*/ 995476 w 1990951"/>
                <a:gd name="connsiteY11" fmla="*/ 245703 h 286230"/>
                <a:gd name="connsiteX12" fmla="*/ 1243712 w 1990951"/>
                <a:gd name="connsiteY12" fmla="*/ 0 h 286230"/>
                <a:gd name="connsiteX13" fmla="*/ 1489414 w 1990951"/>
                <a:gd name="connsiteY13" fmla="*/ 245703 h 286230"/>
                <a:gd name="connsiteX14" fmla="*/ 1735117 w 1990951"/>
                <a:gd name="connsiteY14" fmla="*/ 0 h 286230"/>
                <a:gd name="connsiteX15" fmla="*/ 1990952 w 1990951"/>
                <a:gd name="connsiteY15" fmla="*/ 255835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5835"/>
                  </a:lnTo>
                  <a:lnTo>
                    <a:pt x="255835" y="0"/>
                  </a:lnTo>
                  <a:lnTo>
                    <a:pt x="504071" y="245703"/>
                  </a:lnTo>
                  <a:lnTo>
                    <a:pt x="749773" y="0"/>
                  </a:lnTo>
                  <a:lnTo>
                    <a:pt x="995476" y="245703"/>
                  </a:lnTo>
                  <a:lnTo>
                    <a:pt x="1243712" y="0"/>
                  </a:lnTo>
                  <a:lnTo>
                    <a:pt x="1489414" y="245703"/>
                  </a:lnTo>
                  <a:lnTo>
                    <a:pt x="1735117" y="0"/>
                  </a:lnTo>
                  <a:lnTo>
                    <a:pt x="1990952" y="255835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4A69059-7C49-49C6-B071-F2A9B558E0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267504" y="2993660"/>
              <a:ext cx="1990951" cy="286230"/>
            </a:xfrm>
            <a:custGeom>
              <a:avLst/>
              <a:gdLst>
                <a:gd name="connsiteX0" fmla="*/ 1489414 w 1990951"/>
                <a:gd name="connsiteY0" fmla="*/ 286231 h 286230"/>
                <a:gd name="connsiteX1" fmla="*/ 1243712 w 1990951"/>
                <a:gd name="connsiteY1" fmla="*/ 40528 h 286230"/>
                <a:gd name="connsiteX2" fmla="*/ 995476 w 1990951"/>
                <a:gd name="connsiteY2" fmla="*/ 286231 h 286230"/>
                <a:gd name="connsiteX3" fmla="*/ 749773 w 1990951"/>
                <a:gd name="connsiteY3" fmla="*/ 40528 h 286230"/>
                <a:gd name="connsiteX4" fmla="*/ 504071 w 1990951"/>
                <a:gd name="connsiteY4" fmla="*/ 286231 h 286230"/>
                <a:gd name="connsiteX5" fmla="*/ 255835 w 1990951"/>
                <a:gd name="connsiteY5" fmla="*/ 40528 h 286230"/>
                <a:gd name="connsiteX6" fmla="*/ 20264 w 1990951"/>
                <a:gd name="connsiteY6" fmla="*/ 276099 h 286230"/>
                <a:gd name="connsiteX7" fmla="*/ 0 w 1990951"/>
                <a:gd name="connsiteY7" fmla="*/ 258368 h 286230"/>
                <a:gd name="connsiteX8" fmla="*/ 255835 w 1990951"/>
                <a:gd name="connsiteY8" fmla="*/ 0 h 286230"/>
                <a:gd name="connsiteX9" fmla="*/ 504071 w 1990951"/>
                <a:gd name="connsiteY9" fmla="*/ 248236 h 286230"/>
                <a:gd name="connsiteX10" fmla="*/ 749773 w 1990951"/>
                <a:gd name="connsiteY10" fmla="*/ 0 h 286230"/>
                <a:gd name="connsiteX11" fmla="*/ 995476 w 1990951"/>
                <a:gd name="connsiteY11" fmla="*/ 248236 h 286230"/>
                <a:gd name="connsiteX12" fmla="*/ 1243712 w 1990951"/>
                <a:gd name="connsiteY12" fmla="*/ 0 h 286230"/>
                <a:gd name="connsiteX13" fmla="*/ 1489414 w 1990951"/>
                <a:gd name="connsiteY13" fmla="*/ 248236 h 286230"/>
                <a:gd name="connsiteX14" fmla="*/ 1735117 w 1990951"/>
                <a:gd name="connsiteY14" fmla="*/ 0 h 286230"/>
                <a:gd name="connsiteX15" fmla="*/ 1990952 w 1990951"/>
                <a:gd name="connsiteY15" fmla="*/ 258368 h 286230"/>
                <a:gd name="connsiteX16" fmla="*/ 1973221 w 1990951"/>
                <a:gd name="connsiteY16" fmla="*/ 276099 h 286230"/>
                <a:gd name="connsiteX17" fmla="*/ 1735117 w 1990951"/>
                <a:gd name="connsiteY17" fmla="*/ 40528 h 2862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990951" h="286230">
                  <a:moveTo>
                    <a:pt x="1489414" y="286231"/>
                  </a:moveTo>
                  <a:lnTo>
                    <a:pt x="1243712" y="40528"/>
                  </a:lnTo>
                  <a:lnTo>
                    <a:pt x="995476" y="286231"/>
                  </a:lnTo>
                  <a:lnTo>
                    <a:pt x="749773" y="40528"/>
                  </a:lnTo>
                  <a:lnTo>
                    <a:pt x="504071" y="286231"/>
                  </a:lnTo>
                  <a:lnTo>
                    <a:pt x="255835" y="40528"/>
                  </a:lnTo>
                  <a:lnTo>
                    <a:pt x="20264" y="276099"/>
                  </a:lnTo>
                  <a:lnTo>
                    <a:pt x="0" y="258368"/>
                  </a:lnTo>
                  <a:lnTo>
                    <a:pt x="255835" y="0"/>
                  </a:lnTo>
                  <a:lnTo>
                    <a:pt x="504071" y="248236"/>
                  </a:lnTo>
                  <a:lnTo>
                    <a:pt x="749773" y="0"/>
                  </a:lnTo>
                  <a:lnTo>
                    <a:pt x="995476" y="248236"/>
                  </a:lnTo>
                  <a:lnTo>
                    <a:pt x="1243712" y="0"/>
                  </a:lnTo>
                  <a:lnTo>
                    <a:pt x="1489414" y="248236"/>
                  </a:lnTo>
                  <a:lnTo>
                    <a:pt x="1735117" y="0"/>
                  </a:lnTo>
                  <a:lnTo>
                    <a:pt x="1990952" y="258368"/>
                  </a:lnTo>
                  <a:lnTo>
                    <a:pt x="1973221" y="276099"/>
                  </a:lnTo>
                  <a:lnTo>
                    <a:pt x="1735117" y="40528"/>
                  </a:lnTo>
                  <a:close/>
                </a:path>
              </a:pathLst>
            </a:custGeom>
            <a:grpFill/>
            <a:ln w="2532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89D16701-DA76-4F72-BB63-E2C3FFBDFE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rgbClr val="FFFFFF"/>
          </a:solidFill>
          <a:ln w="2857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1CC28BE1-9DC6-43FE-9582-39F091098D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260" y="4752208"/>
            <a:ext cx="365021" cy="365021"/>
          </a:xfrm>
          <a:prstGeom prst="ellipse">
            <a:avLst/>
          </a:prstGeom>
          <a:solidFill>
            <a:schemeClr val="accent6">
              <a:alpha val="3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23" name="Graphic 4">
            <a:extLst>
              <a:ext uri="{FF2B5EF4-FFF2-40B4-BE49-F238E27FC236}">
                <a16:creationId xmlns:a16="http://schemas.microsoft.com/office/drawing/2014/main" id="{AF9AF3F3-CE0C-4125-BDD7-346487FA0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109667" y="5539935"/>
            <a:ext cx="975169" cy="975171"/>
            <a:chOff x="5829300" y="3162300"/>
            <a:chExt cx="532256" cy="532257"/>
          </a:xfrm>
          <a:solidFill>
            <a:schemeClr val="bg1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31DFBFA-CF4D-4940-9086-26F83E5C6B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9208" y="3192208"/>
              <a:ext cx="112966" cy="112966"/>
            </a:xfrm>
            <a:custGeom>
              <a:avLst/>
              <a:gdLst>
                <a:gd name="connsiteX0" fmla="*/ 112967 w 112966"/>
                <a:gd name="connsiteY0" fmla="*/ 0 h 112966"/>
                <a:gd name="connsiteX1" fmla="*/ 0 w 112966"/>
                <a:gd name="connsiteY1" fmla="*/ 112967 h 112966"/>
                <a:gd name="connsiteX2" fmla="*/ 112967 w 112966"/>
                <a:gd name="connsiteY2" fmla="*/ 0 h 1129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966" h="112966">
                  <a:moveTo>
                    <a:pt x="112967" y="0"/>
                  </a:moveTo>
                  <a:lnTo>
                    <a:pt x="0" y="112967"/>
                  </a:lnTo>
                  <a:cubicBezTo>
                    <a:pt x="25356" y="64747"/>
                    <a:pt x="64747" y="25356"/>
                    <a:pt x="11296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27854033-BD20-4C77-8C5B-048F4B3BDD0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1205" y="3164205"/>
              <a:ext cx="230314" cy="230314"/>
            </a:xfrm>
            <a:custGeom>
              <a:avLst/>
              <a:gdLst>
                <a:gd name="connsiteX0" fmla="*/ 230314 w 230314"/>
                <a:gd name="connsiteY0" fmla="*/ 0 h 230314"/>
                <a:gd name="connsiteX1" fmla="*/ 0 w 230314"/>
                <a:gd name="connsiteY1" fmla="*/ 230314 h 230314"/>
                <a:gd name="connsiteX2" fmla="*/ 3524 w 230314"/>
                <a:gd name="connsiteY2" fmla="*/ 209550 h 230314"/>
                <a:gd name="connsiteX3" fmla="*/ 209550 w 230314"/>
                <a:gd name="connsiteY3" fmla="*/ 3524 h 230314"/>
                <a:gd name="connsiteX4" fmla="*/ 230314 w 230314"/>
                <a:gd name="connsiteY4" fmla="*/ 0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0314" h="230314">
                  <a:moveTo>
                    <a:pt x="230314" y="0"/>
                  </a:moveTo>
                  <a:lnTo>
                    <a:pt x="0" y="230314"/>
                  </a:lnTo>
                  <a:cubicBezTo>
                    <a:pt x="953" y="223361"/>
                    <a:pt x="2095" y="216408"/>
                    <a:pt x="3524" y="209550"/>
                  </a:cubicBezTo>
                  <a:lnTo>
                    <a:pt x="209550" y="3524"/>
                  </a:lnTo>
                  <a:cubicBezTo>
                    <a:pt x="216408" y="2095"/>
                    <a:pt x="223361" y="953"/>
                    <a:pt x="23031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C93AA74-BEB3-444F-835B-7AA6ECE6178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29300" y="3162300"/>
              <a:ext cx="294131" cy="294131"/>
            </a:xfrm>
            <a:custGeom>
              <a:avLst/>
              <a:gdLst>
                <a:gd name="connsiteX0" fmla="*/ 294132 w 294131"/>
                <a:gd name="connsiteY0" fmla="*/ 1238 h 294131"/>
                <a:gd name="connsiteX1" fmla="*/ 1238 w 294131"/>
                <a:gd name="connsiteY1" fmla="*/ 294132 h 294131"/>
                <a:gd name="connsiteX2" fmla="*/ 0 w 294131"/>
                <a:gd name="connsiteY2" fmla="*/ 278225 h 294131"/>
                <a:gd name="connsiteX3" fmla="*/ 278225 w 294131"/>
                <a:gd name="connsiteY3" fmla="*/ 0 h 294131"/>
                <a:gd name="connsiteX4" fmla="*/ 294132 w 294131"/>
                <a:gd name="connsiteY4" fmla="*/ 1238 h 294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4131" h="294131">
                  <a:moveTo>
                    <a:pt x="294132" y="1238"/>
                  </a:moveTo>
                  <a:lnTo>
                    <a:pt x="1238" y="294132"/>
                  </a:lnTo>
                  <a:cubicBezTo>
                    <a:pt x="667" y="288893"/>
                    <a:pt x="0" y="283559"/>
                    <a:pt x="0" y="278225"/>
                  </a:cubicBezTo>
                  <a:lnTo>
                    <a:pt x="278225" y="0"/>
                  </a:lnTo>
                  <a:cubicBezTo>
                    <a:pt x="283559" y="0"/>
                    <a:pt x="288893" y="667"/>
                    <a:pt x="294132" y="123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00DF1C9-6952-4704-B8B3-95406E18E4C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37205" y="3170110"/>
              <a:ext cx="337184" cy="337280"/>
            </a:xfrm>
            <a:custGeom>
              <a:avLst/>
              <a:gdLst>
                <a:gd name="connsiteX0" fmla="*/ 337185 w 337184"/>
                <a:gd name="connsiteY0" fmla="*/ 3905 h 337280"/>
                <a:gd name="connsiteX1" fmla="*/ 3810 w 337184"/>
                <a:gd name="connsiteY1" fmla="*/ 337280 h 337280"/>
                <a:gd name="connsiteX2" fmla="*/ 0 w 337184"/>
                <a:gd name="connsiteY2" fmla="*/ 323850 h 337280"/>
                <a:gd name="connsiteX3" fmla="*/ 323850 w 337184"/>
                <a:gd name="connsiteY3" fmla="*/ 0 h 337280"/>
                <a:gd name="connsiteX4" fmla="*/ 337185 w 337184"/>
                <a:gd name="connsiteY4" fmla="*/ 3905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7184" h="337280">
                  <a:moveTo>
                    <a:pt x="337185" y="3905"/>
                  </a:moveTo>
                  <a:lnTo>
                    <a:pt x="3810" y="337280"/>
                  </a:lnTo>
                  <a:cubicBezTo>
                    <a:pt x="2381" y="332899"/>
                    <a:pt x="1143" y="328422"/>
                    <a:pt x="0" y="323850"/>
                  </a:cubicBezTo>
                  <a:lnTo>
                    <a:pt x="323850" y="0"/>
                  </a:lnTo>
                  <a:cubicBezTo>
                    <a:pt x="328327" y="1715"/>
                    <a:pt x="332804" y="2477"/>
                    <a:pt x="337185" y="390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34783FD-297C-40D2-964B-DBAE4DE283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53207" y="3186207"/>
              <a:ext cx="364617" cy="364617"/>
            </a:xfrm>
            <a:custGeom>
              <a:avLst/>
              <a:gdLst>
                <a:gd name="connsiteX0" fmla="*/ 364617 w 364617"/>
                <a:gd name="connsiteY0" fmla="*/ 5620 h 364617"/>
                <a:gd name="connsiteX1" fmla="*/ 5620 w 364617"/>
                <a:gd name="connsiteY1" fmla="*/ 364617 h 364617"/>
                <a:gd name="connsiteX2" fmla="*/ 0 w 364617"/>
                <a:gd name="connsiteY2" fmla="*/ 353187 h 364617"/>
                <a:gd name="connsiteX3" fmla="*/ 353187 w 364617"/>
                <a:gd name="connsiteY3" fmla="*/ 0 h 364617"/>
                <a:gd name="connsiteX4" fmla="*/ 364617 w 364617"/>
                <a:gd name="connsiteY4" fmla="*/ 5620 h 364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64617" h="364617">
                  <a:moveTo>
                    <a:pt x="364617" y="5620"/>
                  </a:moveTo>
                  <a:lnTo>
                    <a:pt x="5620" y="364617"/>
                  </a:lnTo>
                  <a:cubicBezTo>
                    <a:pt x="3620" y="360902"/>
                    <a:pt x="1715" y="357092"/>
                    <a:pt x="0" y="353187"/>
                  </a:cubicBezTo>
                  <a:lnTo>
                    <a:pt x="353187" y="0"/>
                  </a:lnTo>
                  <a:cubicBezTo>
                    <a:pt x="357092" y="1715"/>
                    <a:pt x="360902" y="3715"/>
                    <a:pt x="364617" y="56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DE621623-0357-4FD5-A1AC-40050102595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875305" y="3208305"/>
              <a:ext cx="380238" cy="380238"/>
            </a:xfrm>
            <a:custGeom>
              <a:avLst/>
              <a:gdLst>
                <a:gd name="connsiteX0" fmla="*/ 380238 w 380238"/>
                <a:gd name="connsiteY0" fmla="*/ 7239 h 380238"/>
                <a:gd name="connsiteX1" fmla="*/ 7239 w 380238"/>
                <a:gd name="connsiteY1" fmla="*/ 380238 h 380238"/>
                <a:gd name="connsiteX2" fmla="*/ 0 w 380238"/>
                <a:gd name="connsiteY2" fmla="*/ 370713 h 380238"/>
                <a:gd name="connsiteX3" fmla="*/ 370237 w 380238"/>
                <a:gd name="connsiteY3" fmla="*/ 0 h 380238"/>
                <a:gd name="connsiteX4" fmla="*/ 380238 w 380238"/>
                <a:gd name="connsiteY4" fmla="*/ 7239 h 380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0238" h="380238">
                  <a:moveTo>
                    <a:pt x="380238" y="7239"/>
                  </a:moveTo>
                  <a:lnTo>
                    <a:pt x="7239" y="380238"/>
                  </a:lnTo>
                  <a:cubicBezTo>
                    <a:pt x="4763" y="377000"/>
                    <a:pt x="2381" y="373571"/>
                    <a:pt x="0" y="370713"/>
                  </a:cubicBezTo>
                  <a:lnTo>
                    <a:pt x="370237" y="0"/>
                  </a:lnTo>
                  <a:cubicBezTo>
                    <a:pt x="373571" y="2381"/>
                    <a:pt x="377000" y="4763"/>
                    <a:pt x="380238" y="723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024F346E-10A0-458F-A9CA-8C0079472F9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02832" y="3235832"/>
              <a:ext cx="385191" cy="385191"/>
            </a:xfrm>
            <a:custGeom>
              <a:avLst/>
              <a:gdLst>
                <a:gd name="connsiteX0" fmla="*/ 380905 w 385191"/>
                <a:gd name="connsiteY0" fmla="*/ 4286 h 385191"/>
                <a:gd name="connsiteX1" fmla="*/ 385191 w 385191"/>
                <a:gd name="connsiteY1" fmla="*/ 8573 h 385191"/>
                <a:gd name="connsiteX2" fmla="*/ 8573 w 385191"/>
                <a:gd name="connsiteY2" fmla="*/ 385191 h 385191"/>
                <a:gd name="connsiteX3" fmla="*/ 4286 w 385191"/>
                <a:gd name="connsiteY3" fmla="*/ 380905 h 385191"/>
                <a:gd name="connsiteX4" fmla="*/ 0 w 385191"/>
                <a:gd name="connsiteY4" fmla="*/ 376523 h 385191"/>
                <a:gd name="connsiteX5" fmla="*/ 376523 w 385191"/>
                <a:gd name="connsiteY5" fmla="*/ 0 h 385191"/>
                <a:gd name="connsiteX6" fmla="*/ 380905 w 385191"/>
                <a:gd name="connsiteY6" fmla="*/ 4286 h 385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85191" h="385191">
                  <a:moveTo>
                    <a:pt x="380905" y="4286"/>
                  </a:moveTo>
                  <a:lnTo>
                    <a:pt x="385191" y="8573"/>
                  </a:lnTo>
                  <a:lnTo>
                    <a:pt x="8573" y="385191"/>
                  </a:lnTo>
                  <a:lnTo>
                    <a:pt x="4286" y="380905"/>
                  </a:lnTo>
                  <a:cubicBezTo>
                    <a:pt x="2762" y="379476"/>
                    <a:pt x="1334" y="377952"/>
                    <a:pt x="0" y="376523"/>
                  </a:cubicBezTo>
                  <a:lnTo>
                    <a:pt x="376523" y="0"/>
                  </a:lnTo>
                  <a:cubicBezTo>
                    <a:pt x="377952" y="1334"/>
                    <a:pt x="379476" y="2667"/>
                    <a:pt x="380905" y="428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937A2F7-01A9-47F3-BED6-B61D998408A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35789" y="3268313"/>
              <a:ext cx="379761" cy="380237"/>
            </a:xfrm>
            <a:custGeom>
              <a:avLst/>
              <a:gdLst>
                <a:gd name="connsiteX0" fmla="*/ 372428 w 379761"/>
                <a:gd name="connsiteY0" fmla="*/ 0 h 380237"/>
                <a:gd name="connsiteX1" fmla="*/ 379762 w 379761"/>
                <a:gd name="connsiteY1" fmla="*/ 9525 h 380237"/>
                <a:gd name="connsiteX2" fmla="*/ 9525 w 379761"/>
                <a:gd name="connsiteY2" fmla="*/ 380238 h 380237"/>
                <a:gd name="connsiteX3" fmla="*/ 0 w 379761"/>
                <a:gd name="connsiteY3" fmla="*/ 372904 h 380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79761" h="380237">
                  <a:moveTo>
                    <a:pt x="372428" y="0"/>
                  </a:moveTo>
                  <a:cubicBezTo>
                    <a:pt x="374999" y="3239"/>
                    <a:pt x="377381" y="6572"/>
                    <a:pt x="379762" y="9525"/>
                  </a:cubicBezTo>
                  <a:lnTo>
                    <a:pt x="9525" y="380238"/>
                  </a:lnTo>
                  <a:cubicBezTo>
                    <a:pt x="6096" y="377857"/>
                    <a:pt x="2762" y="375476"/>
                    <a:pt x="0" y="37290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B44DAF8-5073-441A-82E1-180385D35F2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972841" y="3305841"/>
              <a:ext cx="364807" cy="364807"/>
            </a:xfrm>
            <a:custGeom>
              <a:avLst/>
              <a:gdLst>
                <a:gd name="connsiteX0" fmla="*/ 359188 w 364807"/>
                <a:gd name="connsiteY0" fmla="*/ 0 h 364807"/>
                <a:gd name="connsiteX1" fmla="*/ 364808 w 364807"/>
                <a:gd name="connsiteY1" fmla="*/ 11621 h 364807"/>
                <a:gd name="connsiteX2" fmla="*/ 11621 w 364807"/>
                <a:gd name="connsiteY2" fmla="*/ 364808 h 364807"/>
                <a:gd name="connsiteX3" fmla="*/ 0 w 364807"/>
                <a:gd name="connsiteY3" fmla="*/ 359188 h 36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64807" h="364807">
                  <a:moveTo>
                    <a:pt x="359188" y="0"/>
                  </a:moveTo>
                  <a:cubicBezTo>
                    <a:pt x="361188" y="3905"/>
                    <a:pt x="362998" y="7715"/>
                    <a:pt x="364808" y="11621"/>
                  </a:cubicBezTo>
                  <a:lnTo>
                    <a:pt x="11621" y="364808"/>
                  </a:lnTo>
                  <a:cubicBezTo>
                    <a:pt x="7715" y="362998"/>
                    <a:pt x="3905" y="361188"/>
                    <a:pt x="0" y="35918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52B0413D-0E36-4A90-8E6A-9EDC676A607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16370" y="3349466"/>
              <a:ext cx="337280" cy="337280"/>
            </a:xfrm>
            <a:custGeom>
              <a:avLst/>
              <a:gdLst>
                <a:gd name="connsiteX0" fmla="*/ 333470 w 337280"/>
                <a:gd name="connsiteY0" fmla="*/ 0 h 337280"/>
                <a:gd name="connsiteX1" fmla="*/ 337280 w 337280"/>
                <a:gd name="connsiteY1" fmla="*/ 13430 h 337280"/>
                <a:gd name="connsiteX2" fmla="*/ 13430 w 337280"/>
                <a:gd name="connsiteY2" fmla="*/ 337280 h 337280"/>
                <a:gd name="connsiteX3" fmla="*/ 0 w 337280"/>
                <a:gd name="connsiteY3" fmla="*/ 333470 h 3372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7280" h="337280">
                  <a:moveTo>
                    <a:pt x="333470" y="0"/>
                  </a:moveTo>
                  <a:cubicBezTo>
                    <a:pt x="334899" y="4382"/>
                    <a:pt x="336137" y="8858"/>
                    <a:pt x="337280" y="13430"/>
                  </a:cubicBezTo>
                  <a:lnTo>
                    <a:pt x="13430" y="337280"/>
                  </a:lnTo>
                  <a:cubicBezTo>
                    <a:pt x="8858" y="336137"/>
                    <a:pt x="4382" y="334899"/>
                    <a:pt x="0" y="33347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6059ECF-0D50-48AD-B67A-645EC29D336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067329" y="3400425"/>
              <a:ext cx="294227" cy="294132"/>
            </a:xfrm>
            <a:custGeom>
              <a:avLst/>
              <a:gdLst>
                <a:gd name="connsiteX0" fmla="*/ 292989 w 294227"/>
                <a:gd name="connsiteY0" fmla="*/ 0 h 294132"/>
                <a:gd name="connsiteX1" fmla="*/ 294227 w 294227"/>
                <a:gd name="connsiteY1" fmla="*/ 15907 h 294132"/>
                <a:gd name="connsiteX2" fmla="*/ 15907 w 294227"/>
                <a:gd name="connsiteY2" fmla="*/ 294132 h 294132"/>
                <a:gd name="connsiteX3" fmla="*/ 0 w 294227"/>
                <a:gd name="connsiteY3" fmla="*/ 292894 h 294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4227" h="294132">
                  <a:moveTo>
                    <a:pt x="292989" y="0"/>
                  </a:moveTo>
                  <a:cubicBezTo>
                    <a:pt x="293561" y="5334"/>
                    <a:pt x="293942" y="10668"/>
                    <a:pt x="294227" y="15907"/>
                  </a:cubicBezTo>
                  <a:lnTo>
                    <a:pt x="15907" y="294132"/>
                  </a:lnTo>
                  <a:cubicBezTo>
                    <a:pt x="10668" y="294132"/>
                    <a:pt x="5334" y="293465"/>
                    <a:pt x="0" y="29289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B394906F-6BF2-447E-9886-F12708E1289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129337" y="3462337"/>
              <a:ext cx="230314" cy="230314"/>
            </a:xfrm>
            <a:custGeom>
              <a:avLst/>
              <a:gdLst>
                <a:gd name="connsiteX0" fmla="*/ 230315 w 230314"/>
                <a:gd name="connsiteY0" fmla="*/ 0 h 230314"/>
                <a:gd name="connsiteX1" fmla="*/ 226886 w 230314"/>
                <a:gd name="connsiteY1" fmla="*/ 20574 h 230314"/>
                <a:gd name="connsiteX2" fmla="*/ 20669 w 230314"/>
                <a:gd name="connsiteY2" fmla="*/ 226790 h 230314"/>
                <a:gd name="connsiteX3" fmla="*/ 0 w 230314"/>
                <a:gd name="connsiteY3" fmla="*/ 230315 h 2303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314" h="230314">
                  <a:moveTo>
                    <a:pt x="230315" y="0"/>
                  </a:moveTo>
                  <a:cubicBezTo>
                    <a:pt x="229457" y="6953"/>
                    <a:pt x="228314" y="13716"/>
                    <a:pt x="226886" y="20574"/>
                  </a:cubicBezTo>
                  <a:lnTo>
                    <a:pt x="20669" y="226790"/>
                  </a:lnTo>
                  <a:cubicBezTo>
                    <a:pt x="13811" y="228314"/>
                    <a:pt x="6953" y="229457"/>
                    <a:pt x="0" y="23031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A45EB96B-215A-4EBF-A594-2B082223393E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218682" y="3551682"/>
              <a:ext cx="112871" cy="112871"/>
            </a:xfrm>
            <a:custGeom>
              <a:avLst/>
              <a:gdLst>
                <a:gd name="connsiteX0" fmla="*/ 112871 w 112871"/>
                <a:gd name="connsiteY0" fmla="*/ 0 h 112871"/>
                <a:gd name="connsiteX1" fmla="*/ 0 w 112871"/>
                <a:gd name="connsiteY1" fmla="*/ 112871 h 112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12871" h="112871">
                  <a:moveTo>
                    <a:pt x="112871" y="0"/>
                  </a:moveTo>
                  <a:cubicBezTo>
                    <a:pt x="87618" y="48239"/>
                    <a:pt x="48239" y="87618"/>
                    <a:pt x="0" y="112871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E0367B-85AD-2DFE-EA66-924CC8E9F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304393" y="6356350"/>
            <a:ext cx="4398731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>
                <a:solidFill>
                  <a:schemeClr val="tx1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4AAB922-5B32-9264-4FF0-ABDE1D4BBF7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chemeClr val="tx1"/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US">
              <a:solidFill>
                <a:schemeClr val="tx1"/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8E90EF63-6F43-0835-CA31-CF4B3CEA61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10940254"/>
              </p:ext>
            </p:extLst>
          </p:nvPr>
        </p:nvGraphicFramePr>
        <p:xfrm>
          <a:off x="5484139" y="477540"/>
          <a:ext cx="6301601" cy="58788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242672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Lato Medium"/>
                <a:cs typeface="Calibri"/>
              </a:rPr>
              <a:t>Getting to Green on Key Strategie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15666218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11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E6A29F32-D783-FDFB-01C0-B12467EA78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9597" y="1798930"/>
            <a:ext cx="5728740" cy="41220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Social Determinants of Health Screening</a:t>
            </a:r>
            <a:r>
              <a:rPr lang="en-US" sz="4000" kern="1200">
                <a:latin typeface="+mj-lt"/>
                <a:ea typeface="+mj-ea"/>
                <a:cs typeface="+mj-cs"/>
              </a:rPr>
              <a:t> (L&amp;D)</a:t>
            </a:r>
            <a:endParaRPr lang="en-US" sz="4000">
              <a:ea typeface="Calibri"/>
              <a:cs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343097" y="3128151"/>
            <a:ext cx="4723544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Screen all patients for </a:t>
            </a:r>
            <a:r>
              <a:rPr lang="en-US" sz="2000" b="1" err="1">
                <a:solidFill>
                  <a:schemeClr val="bg2">
                    <a:lumMod val="10000"/>
                  </a:schemeClr>
                </a:solidFill>
                <a:cs typeface="Calibri"/>
              </a:rPr>
              <a:t>SDoH</a:t>
            </a:r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 using one of the recommended screening tools in the ILPQC BE Toolkit</a:t>
            </a:r>
            <a:endParaRPr lang="en-US" sz="2000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BBFCB4-DC7A-F59C-54B3-18B6985E3037}"/>
              </a:ext>
            </a:extLst>
          </p:cNvPr>
          <p:cNvSpPr txBox="1"/>
          <p:nvPr/>
        </p:nvSpPr>
        <p:spPr>
          <a:xfrm>
            <a:off x="6193194" y="4741094"/>
            <a:ext cx="5023347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Have a process in place to link screened positive patients to local resources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0DDF47-5AC4-80C8-1300-C2B0E64CB907}"/>
              </a:ext>
            </a:extLst>
          </p:cNvPr>
          <p:cNvSpPr txBox="1"/>
          <p:nvPr/>
        </p:nvSpPr>
        <p:spPr>
          <a:xfrm>
            <a:off x="1406294" y="1340535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17% --&gt; 85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495B1029-8BA9-4BEA-AC09-5075FB4F8AF0}"/>
              </a:ext>
              <a:ext uri="{147F2762-F138-4A5C-976F-8EAC2B608ADB}">
                <a16:predDERef xmlns:a16="http://schemas.microsoft.com/office/drawing/2014/main" pred="{00000000-0008-0000-00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6375489"/>
              </p:ext>
            </p:extLst>
          </p:nvPr>
        </p:nvGraphicFramePr>
        <p:xfrm>
          <a:off x="149902" y="2161082"/>
          <a:ext cx="6177415" cy="3960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4483275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Optimize Collection and Accuracy of Self-Reported Race and Ethnicity</a:t>
            </a:r>
            <a:endParaRPr lang="en-US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17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113A42EF-8872-4B1A-35BE-E7D497BE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30849" y="1365949"/>
            <a:ext cx="5336304" cy="528907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680376" y="2719290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Process flow to obtain accurate self-reported data at check-in, etc.</a:t>
            </a:r>
            <a:endParaRPr lang="en-US" sz="2000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BE8C03-4624-EFE8-247F-02BD3AED52B8}"/>
              </a:ext>
            </a:extLst>
          </p:cNvPr>
          <p:cNvSpPr txBox="1"/>
          <p:nvPr/>
        </p:nvSpPr>
        <p:spPr>
          <a:xfrm>
            <a:off x="1485723" y="1459326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7% --&gt; 83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076FE92-3FA1-D966-C883-38631104FAF4}"/>
              </a:ext>
            </a:extLst>
          </p:cNvPr>
          <p:cNvSpPr txBox="1"/>
          <p:nvPr/>
        </p:nvSpPr>
        <p:spPr>
          <a:xfrm>
            <a:off x="6638504" y="4058226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Improve scripting of how patients are asked for self-reported data</a:t>
            </a:r>
            <a:endParaRPr lang="en-US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09BBE6-D8B4-7A93-7800-27CFAAFF7C9B}"/>
              </a:ext>
            </a:extLst>
          </p:cNvPr>
          <p:cNvSpPr txBox="1"/>
          <p:nvPr/>
        </p:nvSpPr>
        <p:spPr>
          <a:xfrm>
            <a:off x="6601029" y="5391148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Reviewing data to track progress on reducing non-report race and ethnicity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C1D30C6E-AFFC-4712-A1AE-DCC8B94A4BAC}"/>
              </a:ext>
              <a:ext uri="{147F2762-F138-4A5C-976F-8EAC2B608ADB}">
                <a16:predDERef xmlns:a16="http://schemas.microsoft.com/office/drawing/2014/main" pred="{CD822F8D-3431-C2DF-C3F0-6304364785B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8306448"/>
              </p:ext>
            </p:extLst>
          </p:nvPr>
        </p:nvGraphicFramePr>
        <p:xfrm>
          <a:off x="93688" y="2179821"/>
          <a:ext cx="6442491" cy="3999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451576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Review Maternal Health Quality Data Stratified by Race, Ethnicity, and Insurance Status</a:t>
            </a:r>
            <a:endParaRPr lang="en-US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18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4" name="Picture 11" descr="A picture containing funnel chart&#10;&#10;Description automatically generated">
            <a:extLst>
              <a:ext uri="{FF2B5EF4-FFF2-40B4-BE49-F238E27FC236}">
                <a16:creationId xmlns:a16="http://schemas.microsoft.com/office/drawing/2014/main" id="{52E7A457-0971-8046-6551-E77130CE7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7072" y="1798930"/>
            <a:ext cx="5728740" cy="41220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642900" y="3118064"/>
            <a:ext cx="4311315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Review NTSV C-section or SMM data stratified by race, ethnicity, and insurance status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8BAF3-D9EA-F2AC-C883-E762289DEBC7}"/>
              </a:ext>
            </a:extLst>
          </p:cNvPr>
          <p:cNvSpPr txBox="1"/>
          <p:nvPr/>
        </p:nvSpPr>
        <p:spPr>
          <a:xfrm>
            <a:off x="6555457" y="4741934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Identify opportunities to address disparities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89B04A-8314-F341-3921-FCCA536088CE}"/>
              </a:ext>
            </a:extLst>
          </p:cNvPr>
          <p:cNvSpPr txBox="1"/>
          <p:nvPr/>
        </p:nvSpPr>
        <p:spPr>
          <a:xfrm>
            <a:off x="1316966" y="1378129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6% --&gt; 75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4259C8A2-CC23-4A9C-B8F2-BC67944DF4D2}"/>
              </a:ext>
              <a:ext uri="{147F2762-F138-4A5C-976F-8EAC2B608ADB}">
                <a16:predDERef xmlns:a16="http://schemas.microsoft.com/office/drawing/2014/main" pred="{00000000-0008-0000-02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2888281"/>
              </p:ext>
            </p:extLst>
          </p:nvPr>
        </p:nvGraphicFramePr>
        <p:xfrm>
          <a:off x="0" y="2042411"/>
          <a:ext cx="6365979" cy="4187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8207607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 fontScale="90000"/>
          </a:bodyPr>
          <a:lstStyle/>
          <a:p>
            <a:pPr algn="ctr">
              <a:lnSpc>
                <a:spcPct val="90000"/>
              </a:lnSpc>
            </a:pPr>
            <a:r>
              <a:rPr lang="en-US" sz="4000" dirty="0">
                <a:ea typeface="+mj-ea"/>
                <a:cs typeface="+mj-cs"/>
              </a:rPr>
              <a:t>Sharing Respectful Care Strategies with Healthcare Team and Patients</a:t>
            </a:r>
            <a:endParaRPr lang="en-US" dirty="0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113A42EF-8872-4B1A-35BE-E7D497BE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7226" y="1340966"/>
            <a:ext cx="5698566" cy="53890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696756" y="2723760"/>
            <a:ext cx="4138787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Post Respectful Care Practices flyers in unit, including in patient rooms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8BAF3-D9EA-F2AC-C883-E762289DEBC7}"/>
              </a:ext>
            </a:extLst>
          </p:cNvPr>
          <p:cNvSpPr txBox="1"/>
          <p:nvPr/>
        </p:nvSpPr>
        <p:spPr>
          <a:xfrm>
            <a:off x="6530473" y="3930076"/>
            <a:ext cx="4311315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Discuss expected respectful care practices with patients on admission and opportunity to provide feedback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AD572-08B7-1685-1339-3884359112B9}"/>
              </a:ext>
            </a:extLst>
          </p:cNvPr>
          <p:cNvSpPr txBox="1"/>
          <p:nvPr/>
        </p:nvSpPr>
        <p:spPr>
          <a:xfrm>
            <a:off x="6611669" y="5471251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Staff signing the Respectful Care Practice Commitment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407C42-2763-30C8-9FBC-007152556FDB}"/>
              </a:ext>
            </a:extLst>
          </p:cNvPr>
          <p:cNvSpPr txBox="1"/>
          <p:nvPr/>
        </p:nvSpPr>
        <p:spPr>
          <a:xfrm>
            <a:off x="1381310" y="1288211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9% --&gt; 68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28906B0-2835-400F-BCAA-78A07AFC949A}"/>
              </a:ext>
              <a:ext uri="{147F2762-F138-4A5C-976F-8EAC2B608ADB}">
                <a16:predDERef xmlns:a16="http://schemas.microsoft.com/office/drawing/2014/main" pred="{00000000-0008-0000-04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7160264"/>
              </p:ext>
            </p:extLst>
          </p:nvPr>
        </p:nvGraphicFramePr>
        <p:xfrm>
          <a:off x="-8193" y="2216356"/>
          <a:ext cx="6301903" cy="41788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7261830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56B2C21-A230-48C0-8DF1-C46611373C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47E18C-932D-4C95-AABA-FEC7C9499A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150CB11-0C61-439E-910F-5787759E72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3F8A58B-5155-44CE-A5FF-7647B47D0A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43F2ACA-E6D6-4028-82DD-F03C262D5D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5" y="1410079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4CF7A51-E4B7-D6AC-577C-8BEEF4261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478" y="1683756"/>
            <a:ext cx="3115265" cy="2396359"/>
          </a:xfrm>
        </p:spPr>
        <p:txBody>
          <a:bodyPr anchor="b">
            <a:normAutofit/>
          </a:bodyPr>
          <a:lstStyle/>
          <a:p>
            <a:pPr algn="r"/>
            <a:r>
              <a:rPr lang="en-US" sz="4000">
                <a:solidFill>
                  <a:srgbClr val="FFFFFF"/>
                </a:solidFill>
              </a:rPr>
              <a:t>Call Overview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190B3B-9D61-64E7-7C49-030ED072D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1984248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D2F46C-925D-2108-E3D5-1C90F84C68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lumMod val="50000"/>
                    <a:lumOff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444C55">
                  <a:lumMod val="50000"/>
                  <a:lumOff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4" name="Content Placeholder 2">
            <a:extLst>
              <a:ext uri="{FF2B5EF4-FFF2-40B4-BE49-F238E27FC236}">
                <a16:creationId xmlns:a16="http://schemas.microsoft.com/office/drawing/2014/main" id="{1AFE1AA9-94FD-3ADA-A805-0D8A1696B64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59128206"/>
              </p:ext>
            </p:extLst>
          </p:nvPr>
        </p:nvGraphicFramePr>
        <p:xfrm>
          <a:off x="4421405" y="540367"/>
          <a:ext cx="7281349" cy="58103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4563510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PREM Survey Implementation</a:t>
            </a:r>
            <a:endParaRPr lang="en-US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113A42EF-8872-4B1A-35BE-E7D497BE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439" y="1334719"/>
            <a:ext cx="5748534" cy="53452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624162" y="2724171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Post PREM Survey flyers with QR Codes in each patient room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8BAF3-D9EA-F2AC-C883-E762289DEBC7}"/>
              </a:ext>
            </a:extLst>
          </p:cNvPr>
          <p:cNvSpPr txBox="1"/>
          <p:nvPr/>
        </p:nvSpPr>
        <p:spPr>
          <a:xfrm>
            <a:off x="6624161" y="3923940"/>
            <a:ext cx="4311315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Have a process flow to ask patients to complete the PREM survey before discharge to increase % completion</a:t>
            </a:r>
            <a:endParaRPr lang="en-US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AD572-08B7-1685-1339-3884359112B9}"/>
              </a:ext>
            </a:extLst>
          </p:cNvPr>
          <p:cNvSpPr txBox="1"/>
          <p:nvPr/>
        </p:nvSpPr>
        <p:spPr>
          <a:xfrm>
            <a:off x="6530472" y="5279521"/>
            <a:ext cx="4498220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Review PREM survey responses in </a:t>
            </a:r>
            <a:r>
              <a:rPr lang="en-US" sz="2000" b="1" err="1">
                <a:solidFill>
                  <a:schemeClr val="bg2">
                    <a:lumMod val="10000"/>
                  </a:schemeClr>
                </a:solidFill>
                <a:cs typeface="Calibri"/>
              </a:rPr>
              <a:t>REDCap</a:t>
            </a:r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 and share data with your hospital team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A34E040-7BE8-EE63-6D53-F2223A195B13}"/>
              </a:ext>
            </a:extLst>
          </p:cNvPr>
          <p:cNvSpPr txBox="1"/>
          <p:nvPr/>
        </p:nvSpPr>
        <p:spPr>
          <a:xfrm>
            <a:off x="1350316" y="1289390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9% --&gt; 68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B691580-DE17-41BD-B2C6-BCDA5FBBF805}"/>
              </a:ext>
              <a:ext uri="{147F2762-F138-4A5C-976F-8EAC2B608ADB}">
                <a16:predDERef xmlns:a16="http://schemas.microsoft.com/office/drawing/2014/main" pred="{00000000-0008-0000-05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637563"/>
              </p:ext>
            </p:extLst>
          </p:nvPr>
        </p:nvGraphicFramePr>
        <p:xfrm>
          <a:off x="37475" y="2011180"/>
          <a:ext cx="6287499" cy="42823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5195363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Engage Patients and Community in QI Work</a:t>
            </a:r>
            <a:endParaRPr lang="en-US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113A42EF-8872-4B1A-35BE-E7D497BE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30915" y="1353457"/>
            <a:ext cx="5498697" cy="532030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430502" y="2570113"/>
            <a:ext cx="4636101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Host a Respectful Care Breakfast Celebration with clinical team members, patients, and community partners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8BAF3-D9EA-F2AC-C883-E762289DEBC7}"/>
              </a:ext>
            </a:extLst>
          </p:cNvPr>
          <p:cNvSpPr txBox="1"/>
          <p:nvPr/>
        </p:nvSpPr>
        <p:spPr>
          <a:xfrm>
            <a:off x="6692866" y="4120047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Engage a patient/community partner on QI team</a:t>
            </a:r>
            <a:endParaRPr lang="en-US" sz="2000" b="1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30FC1EB-D564-5272-810E-BA98BB96529F}"/>
              </a:ext>
            </a:extLst>
          </p:cNvPr>
          <p:cNvSpPr txBox="1"/>
          <p:nvPr/>
        </p:nvSpPr>
        <p:spPr>
          <a:xfrm>
            <a:off x="1381310" y="1253093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4% --&gt; 34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032EE55-58A8-CD4D-DAC6-C188A49AFAE3}"/>
              </a:ext>
            </a:extLst>
          </p:cNvPr>
          <p:cNvSpPr txBox="1"/>
          <p:nvPr/>
        </p:nvSpPr>
        <p:spPr>
          <a:xfrm>
            <a:off x="6530473" y="5415725"/>
            <a:ext cx="4311315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>
                <a:solidFill>
                  <a:schemeClr val="bg2">
                    <a:lumMod val="10000"/>
                  </a:schemeClr>
                </a:solidFill>
                <a:cs typeface="Calibri"/>
              </a:rPr>
              <a:t>Implement a Community Advisory Board for ongoing QI input</a:t>
            </a:r>
            <a:endParaRPr lang="en-US">
              <a:solidFill>
                <a:schemeClr val="bg2">
                  <a:lumMod val="10000"/>
                </a:schemeClr>
              </a:solidFill>
              <a:ea typeface="Calibri"/>
              <a:cs typeface="Calibri"/>
            </a:endParaRP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A97D687-3B39-47F4-8257-8E4174B1FD34}"/>
              </a:ext>
              <a:ext uri="{147F2762-F138-4A5C-976F-8EAC2B608ADB}">
                <a16:predDERef xmlns:a16="http://schemas.microsoft.com/office/drawing/2014/main" pred="{00000000-0008-0000-03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89421554"/>
              </p:ext>
            </p:extLst>
          </p:nvPr>
        </p:nvGraphicFramePr>
        <p:xfrm>
          <a:off x="0" y="1992443"/>
          <a:ext cx="6432185" cy="4254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8541946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4">
            <a:extLst>
              <a:ext uri="{FF2B5EF4-FFF2-40B4-BE49-F238E27FC236}">
                <a16:creationId xmlns:a16="http://schemas.microsoft.com/office/drawing/2014/main" id="{6C4028FD-8BAA-4A19-BFDE-594D991B7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90FFD8-7456-6026-A3CB-2590364E2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5942"/>
            <a:ext cx="10515600" cy="1133693"/>
          </a:xfrm>
          <a:noFill/>
          <a:ln>
            <a:solidFill>
              <a:schemeClr val="accent1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000">
                <a:ea typeface="+mj-ea"/>
                <a:cs typeface="+mj-cs"/>
              </a:rPr>
              <a:t>Postpartum Safety Patient Education</a:t>
            </a:r>
            <a:endParaRPr lang="en-US">
              <a:ea typeface="Calibri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AE8101B-7830-B29E-7E29-EF51AF87B44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31674" y="5906553"/>
            <a:ext cx="2031601" cy="270410"/>
          </a:xfrm>
        </p:spPr>
        <p:txBody>
          <a:bodyPr/>
          <a:lstStyle/>
          <a:p>
            <a:pPr defTabSz="676656">
              <a:spcAft>
                <a:spcPts val="600"/>
              </a:spcAft>
            </a:pPr>
            <a:fld id="{97033E4B-E3EB-3D46-B2D8-3159663620FA}" type="slidenum">
              <a:rPr lang="en-US" sz="888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defTabSz="676656">
                <a:spcAft>
                  <a:spcPts val="600"/>
                </a:spcAft>
              </a:pPr>
              <a:t>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9E58391-EAE6-E09E-833D-F89373BBD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7925" y="6414553"/>
            <a:ext cx="3047402" cy="270410"/>
          </a:xfrm>
        </p:spPr>
        <p:txBody>
          <a:bodyPr/>
          <a:lstStyle/>
          <a:p>
            <a:pPr algn="l" defTabSz="676656">
              <a:spcAft>
                <a:spcPts val="600"/>
              </a:spcAft>
            </a:pPr>
            <a:r>
              <a:rPr lang="en-US" sz="888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  <a:endParaRPr lang="en-US"/>
          </a:p>
        </p:txBody>
      </p:sp>
      <p:pic>
        <p:nvPicPr>
          <p:cNvPr id="7" name="Picture 7" descr="Chart&#10;&#10;Description automatically generated">
            <a:extLst>
              <a:ext uri="{FF2B5EF4-FFF2-40B4-BE49-F238E27FC236}">
                <a16:creationId xmlns:a16="http://schemas.microsoft.com/office/drawing/2014/main" id="{113A42EF-8872-4B1A-35BE-E7D497BEFD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3439" y="1334719"/>
            <a:ext cx="5386272" cy="533904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D0D6BA-8310-991D-917A-B73C34ADEEF1}"/>
              </a:ext>
            </a:extLst>
          </p:cNvPr>
          <p:cNvSpPr txBox="1"/>
          <p:nvPr/>
        </p:nvSpPr>
        <p:spPr>
          <a:xfrm>
            <a:off x="6530474" y="2778834"/>
            <a:ext cx="431131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2">
                    <a:lumMod val="10000"/>
                  </a:schemeClr>
                </a:solidFill>
                <a:cs typeface="Calibri"/>
              </a:rPr>
              <a:t>Share ILPQC Benefits of Early Postpartum Care flyer with patien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8BAF3-D9EA-F2AC-C883-E762289DEBC7}"/>
              </a:ext>
            </a:extLst>
          </p:cNvPr>
          <p:cNvSpPr txBox="1"/>
          <p:nvPr/>
        </p:nvSpPr>
        <p:spPr>
          <a:xfrm>
            <a:off x="6530473" y="4140400"/>
            <a:ext cx="4311315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2">
                    <a:lumMod val="10000"/>
                  </a:schemeClr>
                </a:solidFill>
                <a:cs typeface="Calibri"/>
              </a:rPr>
              <a:t>Share AWHONN Post-birth warning signs handouts with patients</a:t>
            </a:r>
            <a:endParaRPr lang="en-US">
              <a:solidFill>
                <a:schemeClr val="bg2">
                  <a:lumMod val="10000"/>
                </a:schemeClr>
              </a:solidFill>
              <a:cs typeface="Calibri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9AD572-08B7-1685-1339-3884359112B9}"/>
              </a:ext>
            </a:extLst>
          </p:cNvPr>
          <p:cNvSpPr txBox="1"/>
          <p:nvPr/>
        </p:nvSpPr>
        <p:spPr>
          <a:xfrm>
            <a:off x="6530472" y="5325836"/>
            <a:ext cx="4311315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b="1">
                <a:solidFill>
                  <a:schemeClr val="bg2">
                    <a:lumMod val="10000"/>
                  </a:schemeClr>
                </a:solidFill>
                <a:cs typeface="Calibri"/>
              </a:rPr>
              <a:t>Utilize CDC Hear Her Urgent Maternal Warning Signs and Patient Conversation Guide resource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C80ED72-CF20-9548-7938-AE0D7664FEC9}"/>
              </a:ext>
            </a:extLst>
          </p:cNvPr>
          <p:cNvSpPr txBox="1"/>
          <p:nvPr/>
        </p:nvSpPr>
        <p:spPr>
          <a:xfrm>
            <a:off x="1312605" y="1400637"/>
            <a:ext cx="366335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5400" b="1">
                <a:solidFill>
                  <a:schemeClr val="accent1">
                    <a:lumMod val="75000"/>
                  </a:schemeClr>
                </a:solidFill>
              </a:rPr>
              <a:t>54% --&gt; 92%</a:t>
            </a:r>
            <a:endParaRPr lang="en-US">
              <a:solidFill>
                <a:schemeClr val="accent1">
                  <a:lumMod val="75000"/>
                </a:schemeClr>
              </a:solidFill>
              <a:cs typeface="Calibri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DC6B5FEF-FD36-49E2-8802-5897777A6EA1}"/>
              </a:ext>
              <a:ext uri="{147F2762-F138-4A5C-976F-8EAC2B608ADB}">
                <a16:predDERef xmlns:a16="http://schemas.microsoft.com/office/drawing/2014/main" pred="{00000000-0008-0000-06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1980992"/>
              </p:ext>
            </p:extLst>
          </p:nvPr>
        </p:nvGraphicFramePr>
        <p:xfrm>
          <a:off x="56213" y="2211050"/>
          <a:ext cx="6221698" cy="4035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774366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Respectful Care Breakfast – Team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1160772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DB4B29-8FD0-4D95-29EF-A727805890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6953865" cy="133785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Congrats to Memorial Hospital of Carbondale for hosting their first Respectful Care Breakfast!</a:t>
            </a:r>
            <a:endParaRPr lang="en-US" dirty="0"/>
          </a:p>
        </p:txBody>
      </p:sp>
      <p:pic>
        <p:nvPicPr>
          <p:cNvPr id="6" name="Picture 6" descr="Text&#10;&#10;Description automatically generated">
            <a:extLst>
              <a:ext uri="{FF2B5EF4-FFF2-40B4-BE49-F238E27FC236}">
                <a16:creationId xmlns:a16="http://schemas.microsoft.com/office/drawing/2014/main" id="{8E03C11D-63A2-8D87-3409-506FBDDEBD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 rot="5400000">
            <a:off x="8123053" y="2159900"/>
            <a:ext cx="4379554" cy="353508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82D0E47-E479-D7FE-56D5-0F3FD388C96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E4D6DD-7EE5-2C3C-717B-4CF46BCD9F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7" name="Picture 7" descr="Text, letter&#10;&#10;Description automatically generated">
            <a:extLst>
              <a:ext uri="{FF2B5EF4-FFF2-40B4-BE49-F238E27FC236}">
                <a16:creationId xmlns:a16="http://schemas.microsoft.com/office/drawing/2014/main" id="{1D329015-29F5-D277-4079-7C295941144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73755" y="3045543"/>
            <a:ext cx="4119716" cy="3075447"/>
          </a:xfrm>
          <a:prstGeom prst="rect">
            <a:avLst/>
          </a:prstGeom>
        </p:spPr>
      </p:pic>
      <p:pic>
        <p:nvPicPr>
          <p:cNvPr id="8" name="Graphic 8" descr="Meeting with solid fill">
            <a:extLst>
              <a:ext uri="{FF2B5EF4-FFF2-40B4-BE49-F238E27FC236}">
                <a16:creationId xmlns:a16="http://schemas.microsoft.com/office/drawing/2014/main" id="{BAB1906F-EB45-866A-7A3A-C08B5582F3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105446" y="1869768"/>
            <a:ext cx="914400" cy="914400"/>
          </a:xfrm>
          <a:prstGeom prst="rect">
            <a:avLst/>
          </a:prstGeom>
        </p:spPr>
      </p:pic>
      <p:pic>
        <p:nvPicPr>
          <p:cNvPr id="9" name="Graphic 9" descr="Donut with solid fill">
            <a:extLst>
              <a:ext uri="{FF2B5EF4-FFF2-40B4-BE49-F238E27FC236}">
                <a16:creationId xmlns:a16="http://schemas.microsoft.com/office/drawing/2014/main" id="{0D908120-C1F6-1CAB-403B-0E24A708C21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505529" y="1877449"/>
            <a:ext cx="914400" cy="914400"/>
          </a:xfrm>
          <a:prstGeom prst="rect">
            <a:avLst/>
          </a:prstGeom>
        </p:spPr>
      </p:pic>
      <p:pic>
        <p:nvPicPr>
          <p:cNvPr id="10" name="Graphic 10" descr="Coffee with solid fill">
            <a:extLst>
              <a:ext uri="{FF2B5EF4-FFF2-40B4-BE49-F238E27FC236}">
                <a16:creationId xmlns:a16="http://schemas.microsoft.com/office/drawing/2014/main" id="{55FCD3B6-F0BE-5B82-5CAC-0B29E06E228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873340" y="1874889"/>
            <a:ext cx="914400" cy="91440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6B8694-0E66-1BE7-8F7B-DE35C841D875}"/>
              </a:ext>
            </a:extLst>
          </p:cNvPr>
          <p:cNvSpPr txBox="1"/>
          <p:nvPr/>
        </p:nvSpPr>
        <p:spPr>
          <a:xfrm>
            <a:off x="663676" y="1966451"/>
            <a:ext cx="3424903" cy="415498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 dirty="0">
                <a:cs typeface="Calibri" panose="020F0502020204030204"/>
              </a:rPr>
              <a:t>Doulas invited patients to attend the breakfast</a:t>
            </a:r>
          </a:p>
          <a:p>
            <a:pPr marL="285750" indent="-285750">
              <a:buFont typeface="Arial"/>
              <a:buChar char="•"/>
            </a:pPr>
            <a:r>
              <a:rPr lang="en-US" sz="2400" dirty="0">
                <a:cs typeface="Calibri" panose="020F0502020204030204"/>
              </a:rPr>
              <a:t>Patient and community panel discussion</a:t>
            </a:r>
          </a:p>
          <a:p>
            <a:pPr marL="285750" indent="-285750">
              <a:buFont typeface="Arial"/>
              <a:buChar char="•"/>
            </a:pPr>
            <a:r>
              <a:rPr lang="en-US" sz="2400" dirty="0">
                <a:cs typeface="Calibri" panose="020F0502020204030204"/>
              </a:rPr>
              <a:t>Asked questions like "How would I improve the birthing experience at MHC?" And "How would I improve lactation support &amp; continuity of care?"</a:t>
            </a:r>
          </a:p>
        </p:txBody>
      </p:sp>
    </p:spTree>
    <p:extLst>
      <p:ext uri="{BB962C8B-B14F-4D97-AF65-F5344CB8AC3E}">
        <p14:creationId xmlns:p14="http://schemas.microsoft.com/office/powerpoint/2010/main" val="427711066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8">
            <a:extLst>
              <a:ext uri="{FF2B5EF4-FFF2-40B4-BE49-F238E27FC236}">
                <a16:creationId xmlns:a16="http://schemas.microsoft.com/office/drawing/2014/main" id="{3C54F4CE-85F0-46ED-80DA-9518C9251A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DADD1FCA-8ACB-4958-81DD-4CDD6D3E19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802086" cy="6858000"/>
          </a:xfrm>
          <a:custGeom>
            <a:avLst/>
            <a:gdLst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9647 w 5734864"/>
              <a:gd name="connsiteY33" fmla="*/ 1936120 h 6858000"/>
              <a:gd name="connsiteX34" fmla="*/ 714660 w 5734864"/>
              <a:gd name="connsiteY34" fmla="*/ 1982709 h 6858000"/>
              <a:gd name="connsiteX35" fmla="*/ 710759 w 5734864"/>
              <a:gd name="connsiteY35" fmla="*/ 2013010 h 6858000"/>
              <a:gd name="connsiteX36" fmla="*/ 697927 w 5734864"/>
              <a:gd name="connsiteY36" fmla="*/ 2069833 h 6858000"/>
              <a:gd name="connsiteX37" fmla="*/ 693594 w 5734864"/>
              <a:gd name="connsiteY37" fmla="*/ 2103731 h 6858000"/>
              <a:gd name="connsiteX38" fmla="*/ 691109 w 5734864"/>
              <a:gd name="connsiteY38" fmla="*/ 2124027 h 6858000"/>
              <a:gd name="connsiteX39" fmla="*/ 676593 w 5734864"/>
              <a:gd name="connsiteY39" fmla="*/ 2176182 h 6858000"/>
              <a:gd name="connsiteX40" fmla="*/ 633227 w 5734864"/>
              <a:gd name="connsiteY40" fmla="*/ 2258036 h 6858000"/>
              <a:gd name="connsiteX41" fmla="*/ 625564 w 5734864"/>
              <a:gd name="connsiteY41" fmla="*/ 2284567 h 6858000"/>
              <a:gd name="connsiteX42" fmla="*/ 627074 w 5734864"/>
              <a:gd name="connsiteY42" fmla="*/ 2289605 h 6858000"/>
              <a:gd name="connsiteX43" fmla="*/ 614574 w 5734864"/>
              <a:gd name="connsiteY43" fmla="*/ 2308717 h 6858000"/>
              <a:gd name="connsiteX44" fmla="*/ 606890 w 5734864"/>
              <a:gd name="connsiteY44" fmla="*/ 2320662 h 6858000"/>
              <a:gd name="connsiteX45" fmla="*/ 605558 w 5734864"/>
              <a:gd name="connsiteY45" fmla="*/ 2327897 h 6858000"/>
              <a:gd name="connsiteX46" fmla="*/ 602202 w 5734864"/>
              <a:gd name="connsiteY46" fmla="*/ 2357749 h 6858000"/>
              <a:gd name="connsiteX47" fmla="*/ 600213 w 5734864"/>
              <a:gd name="connsiteY47" fmla="*/ 2364905 h 6858000"/>
              <a:gd name="connsiteX48" fmla="*/ 597160 w 5734864"/>
              <a:gd name="connsiteY48" fmla="*/ 2388351 h 6858000"/>
              <a:gd name="connsiteX49" fmla="*/ 597982 w 5734864"/>
              <a:gd name="connsiteY49" fmla="*/ 2402296 h 6858000"/>
              <a:gd name="connsiteX50" fmla="*/ 593150 w 5734864"/>
              <a:gd name="connsiteY50" fmla="*/ 2420015 h 6858000"/>
              <a:gd name="connsiteX51" fmla="*/ 592833 w 5734864"/>
              <a:gd name="connsiteY51" fmla="*/ 2422749 h 6858000"/>
              <a:gd name="connsiteX52" fmla="*/ 594479 w 5734864"/>
              <a:gd name="connsiteY52" fmla="*/ 2426002 h 6858000"/>
              <a:gd name="connsiteX53" fmla="*/ 591963 w 5734864"/>
              <a:gd name="connsiteY53" fmla="*/ 2431950 h 6858000"/>
              <a:gd name="connsiteX54" fmla="*/ 591544 w 5734864"/>
              <a:gd name="connsiteY54" fmla="*/ 2433897 h 6858000"/>
              <a:gd name="connsiteX55" fmla="*/ 589519 w 5734864"/>
              <a:gd name="connsiteY55" fmla="*/ 2451398 h 6858000"/>
              <a:gd name="connsiteX56" fmla="*/ 590037 w 5734864"/>
              <a:gd name="connsiteY56" fmla="*/ 2455536 h 6858000"/>
              <a:gd name="connsiteX57" fmla="*/ 588179 w 5734864"/>
              <a:gd name="connsiteY57" fmla="*/ 2462981 h 6858000"/>
              <a:gd name="connsiteX58" fmla="*/ 583434 w 5734864"/>
              <a:gd name="connsiteY58" fmla="*/ 2503991 h 6858000"/>
              <a:gd name="connsiteX59" fmla="*/ 567942 w 5734864"/>
              <a:gd name="connsiteY59" fmla="*/ 2652936 h 6858000"/>
              <a:gd name="connsiteX60" fmla="*/ 573869 w 5734864"/>
              <a:gd name="connsiteY60" fmla="*/ 2670188 h 6858000"/>
              <a:gd name="connsiteX61" fmla="*/ 575243 w 5734864"/>
              <a:gd name="connsiteY61" fmla="*/ 2688114 h 6858000"/>
              <a:gd name="connsiteX62" fmla="*/ 573824 w 5734864"/>
              <a:gd name="connsiteY62" fmla="*/ 2689856 h 6858000"/>
              <a:gd name="connsiteX63" fmla="*/ 570699 w 5734864"/>
              <a:gd name="connsiteY63" fmla="*/ 2709353 h 6858000"/>
              <a:gd name="connsiteX64" fmla="*/ 573192 w 5734864"/>
              <a:gd name="connsiteY64" fmla="*/ 2714527 h 6858000"/>
              <a:gd name="connsiteX65" fmla="*/ 572044 w 5734864"/>
              <a:gd name="connsiteY65" fmla="*/ 2728187 h 6858000"/>
              <a:gd name="connsiteX66" fmla="*/ 572465 w 5734864"/>
              <a:gd name="connsiteY66" fmla="*/ 2755863 h 6858000"/>
              <a:gd name="connsiteX67" fmla="*/ 570028 w 5734864"/>
              <a:gd name="connsiteY67" fmla="*/ 2760324 h 6858000"/>
              <a:gd name="connsiteX68" fmla="*/ 566748 w 5734864"/>
              <a:gd name="connsiteY68" fmla="*/ 2800948 h 6858000"/>
              <a:gd name="connsiteX69" fmla="*/ 565509 w 5734864"/>
              <a:gd name="connsiteY69" fmla="*/ 2801167 h 6858000"/>
              <a:gd name="connsiteX70" fmla="*/ 559367 w 5734864"/>
              <a:gd name="connsiteY70" fmla="*/ 2811129 h 6858000"/>
              <a:gd name="connsiteX71" fmla="*/ 550354 w 5734864"/>
              <a:gd name="connsiteY71" fmla="*/ 2830949 h 6858000"/>
              <a:gd name="connsiteX72" fmla="*/ 514795 w 5734864"/>
              <a:gd name="connsiteY72" fmla="*/ 2872433 h 6858000"/>
              <a:gd name="connsiteX73" fmla="*/ 509875 w 5734864"/>
              <a:gd name="connsiteY73" fmla="*/ 2923099 h 6858000"/>
              <a:gd name="connsiteX74" fmla="*/ 509577 w 5734864"/>
              <a:gd name="connsiteY74" fmla="*/ 2923197 h 6858000"/>
              <a:gd name="connsiteX75" fmla="*/ 507597 w 5734864"/>
              <a:gd name="connsiteY75" fmla="*/ 2931868 h 6858000"/>
              <a:gd name="connsiteX76" fmla="*/ 507379 w 5734864"/>
              <a:gd name="connsiteY76" fmla="*/ 2938322 h 6858000"/>
              <a:gd name="connsiteX77" fmla="*/ 504725 w 5734864"/>
              <a:gd name="connsiteY77" fmla="*/ 2954519 h 6858000"/>
              <a:gd name="connsiteX78" fmla="*/ 502018 w 5734864"/>
              <a:gd name="connsiteY78" fmla="*/ 2959643 h 6858000"/>
              <a:gd name="connsiteX79" fmla="*/ 498360 w 5734864"/>
              <a:gd name="connsiteY79" fmla="*/ 2961019 h 6858000"/>
              <a:gd name="connsiteX80" fmla="*/ 498483 w 5734864"/>
              <a:gd name="connsiteY80" fmla="*/ 2962590 h 6858000"/>
              <a:gd name="connsiteX81" fmla="*/ 484403 w 5734864"/>
              <a:gd name="connsiteY81" fmla="*/ 2990538 h 6858000"/>
              <a:gd name="connsiteX82" fmla="*/ 463075 w 5734864"/>
              <a:gd name="connsiteY82" fmla="*/ 3055956 h 6858000"/>
              <a:gd name="connsiteX83" fmla="*/ 455013 w 5734864"/>
              <a:gd name="connsiteY83" fmla="*/ 3094482 h 6858000"/>
              <a:gd name="connsiteX84" fmla="*/ 428391 w 5734864"/>
              <a:gd name="connsiteY84" fmla="*/ 3198850 h 6858000"/>
              <a:gd name="connsiteX85" fmla="*/ 401440 w 5734864"/>
              <a:gd name="connsiteY85" fmla="*/ 3307560 h 6858000"/>
              <a:gd name="connsiteX86" fmla="*/ 386076 w 5734864"/>
              <a:gd name="connsiteY86" fmla="*/ 3373943 h 6858000"/>
              <a:gd name="connsiteX87" fmla="*/ 374726 w 5734864"/>
              <a:gd name="connsiteY87" fmla="*/ 3381364 h 6858000"/>
              <a:gd name="connsiteX88" fmla="*/ 369145 w 5734864"/>
              <a:gd name="connsiteY88" fmla="*/ 3383729 h 6858000"/>
              <a:gd name="connsiteX89" fmla="*/ 364294 w 5734864"/>
              <a:gd name="connsiteY89" fmla="*/ 3414159 h 6858000"/>
              <a:gd name="connsiteX90" fmla="*/ 366450 w 5734864"/>
              <a:gd name="connsiteY90" fmla="*/ 3436925 h 6858000"/>
              <a:gd name="connsiteX91" fmla="*/ 351743 w 5734864"/>
              <a:gd name="connsiteY91" fmla="*/ 3521619 h 6858000"/>
              <a:gd name="connsiteX92" fmla="*/ 345784 w 5734864"/>
              <a:gd name="connsiteY92" fmla="*/ 3603757 h 6858000"/>
              <a:gd name="connsiteX93" fmla="*/ 344198 w 5734864"/>
              <a:gd name="connsiteY93" fmla="*/ 3652424 h 6858000"/>
              <a:gd name="connsiteX94" fmla="*/ 352450 w 5734864"/>
              <a:gd name="connsiteY94" fmla="*/ 3665222 h 6858000"/>
              <a:gd name="connsiteX95" fmla="*/ 342621 w 5734864"/>
              <a:gd name="connsiteY95" fmla="*/ 3700804 h 6858000"/>
              <a:gd name="connsiteX96" fmla="*/ 341514 w 5734864"/>
              <a:gd name="connsiteY96" fmla="*/ 3734774 h 6858000"/>
              <a:gd name="connsiteX97" fmla="*/ 340607 w 5734864"/>
              <a:gd name="connsiteY97" fmla="*/ 3785153 h 6858000"/>
              <a:gd name="connsiteX98" fmla="*/ 340707 w 5734864"/>
              <a:gd name="connsiteY98" fmla="*/ 3788177 h 6858000"/>
              <a:gd name="connsiteX99" fmla="*/ 340361 w 5734864"/>
              <a:gd name="connsiteY99" fmla="*/ 3798803 h 6858000"/>
              <a:gd name="connsiteX100" fmla="*/ 339642 w 5734864"/>
              <a:gd name="connsiteY100" fmla="*/ 3838750 h 6858000"/>
              <a:gd name="connsiteX101" fmla="*/ 360295 w 5734864"/>
              <a:gd name="connsiteY101" fmla="*/ 4015196 h 6858000"/>
              <a:gd name="connsiteX102" fmla="*/ 339043 w 5734864"/>
              <a:gd name="connsiteY102" fmla="*/ 4052778 h 6858000"/>
              <a:gd name="connsiteX103" fmla="*/ 339343 w 5734864"/>
              <a:gd name="connsiteY103" fmla="*/ 4096257 h 6858000"/>
              <a:gd name="connsiteX104" fmla="*/ 340786 w 5734864"/>
              <a:gd name="connsiteY104" fmla="*/ 4321136 h 6858000"/>
              <a:gd name="connsiteX105" fmla="*/ 343158 w 5734864"/>
              <a:gd name="connsiteY105" fmla="*/ 4429174 h 6858000"/>
              <a:gd name="connsiteX106" fmla="*/ 334599 w 5734864"/>
              <a:gd name="connsiteY106" fmla="*/ 4449938 h 6858000"/>
              <a:gd name="connsiteX107" fmla="*/ 332890 w 5734864"/>
              <a:gd name="connsiteY107" fmla="*/ 4453515 h 6858000"/>
              <a:gd name="connsiteX108" fmla="*/ 331105 w 5734864"/>
              <a:gd name="connsiteY108" fmla="*/ 4467941 h 6858000"/>
              <a:gd name="connsiteX109" fmla="*/ 324289 w 5734864"/>
              <a:gd name="connsiteY109" fmla="*/ 4471861 h 6858000"/>
              <a:gd name="connsiteX110" fmla="*/ 317079 w 5734864"/>
              <a:gd name="connsiteY110" fmla="*/ 4493468 h 6858000"/>
              <a:gd name="connsiteX111" fmla="*/ 315557 w 5734864"/>
              <a:gd name="connsiteY111" fmla="*/ 4520067 h 6858000"/>
              <a:gd name="connsiteX112" fmla="*/ 315240 w 5734864"/>
              <a:gd name="connsiteY112" fmla="*/ 4536872 h 6858000"/>
              <a:gd name="connsiteX113" fmla="*/ 316200 w 5734864"/>
              <a:gd name="connsiteY113" fmla="*/ 4538297 h 6858000"/>
              <a:gd name="connsiteX114" fmla="*/ 317507 w 5734864"/>
              <a:gd name="connsiteY114" fmla="*/ 4547582 h 6858000"/>
              <a:gd name="connsiteX115" fmla="*/ 323078 w 5734864"/>
              <a:gd name="connsiteY115" fmla="*/ 4592102 h 6858000"/>
              <a:gd name="connsiteX116" fmla="*/ 328722 w 5734864"/>
              <a:gd name="connsiteY116" fmla="*/ 4667914 h 6858000"/>
              <a:gd name="connsiteX117" fmla="*/ 335597 w 5734864"/>
              <a:gd name="connsiteY117" fmla="*/ 4695035 h 6858000"/>
              <a:gd name="connsiteX118" fmla="*/ 339485 w 5734864"/>
              <a:gd name="connsiteY118" fmla="*/ 4695979 h 6858000"/>
              <a:gd name="connsiteX119" fmla="*/ 341089 w 5734864"/>
              <a:gd name="connsiteY119" fmla="*/ 4704268 h 6858000"/>
              <a:gd name="connsiteX120" fmla="*/ 342177 w 5734864"/>
              <a:gd name="connsiteY120" fmla="*/ 4706060 h 6858000"/>
              <a:gd name="connsiteX121" fmla="*/ 347751 w 5734864"/>
              <a:gd name="connsiteY121" fmla="*/ 4716754 h 6858000"/>
              <a:gd name="connsiteX122" fmla="*/ 344125 w 5734864"/>
              <a:gd name="connsiteY122" fmla="*/ 4764669 h 6858000"/>
              <a:gd name="connsiteX123" fmla="*/ 340188 w 5734864"/>
              <a:gd name="connsiteY123" fmla="*/ 4779386 h 6858000"/>
              <a:gd name="connsiteX124" fmla="*/ 335146 w 5734864"/>
              <a:gd name="connsiteY124" fmla="*/ 4787491 h 6858000"/>
              <a:gd name="connsiteX125" fmla="*/ 319124 w 5734864"/>
              <a:gd name="connsiteY125" fmla="*/ 4843514 h 6858000"/>
              <a:gd name="connsiteX126" fmla="*/ 305956 w 5734864"/>
              <a:gd name="connsiteY126" fmla="*/ 4881505 h 6858000"/>
              <a:gd name="connsiteX127" fmla="*/ 301062 w 5734864"/>
              <a:gd name="connsiteY127" fmla="*/ 4889332 h 6858000"/>
              <a:gd name="connsiteX128" fmla="*/ 302141 w 5734864"/>
              <a:gd name="connsiteY128" fmla="*/ 4899400 h 6858000"/>
              <a:gd name="connsiteX129" fmla="*/ 304424 w 5734864"/>
              <a:gd name="connsiteY129" fmla="*/ 4902664 h 6858000"/>
              <a:gd name="connsiteX130" fmla="*/ 293123 w 5734864"/>
              <a:gd name="connsiteY130" fmla="*/ 4932769 h 6858000"/>
              <a:gd name="connsiteX131" fmla="*/ 292275 w 5734864"/>
              <a:gd name="connsiteY131" fmla="*/ 4936482 h 6858000"/>
              <a:gd name="connsiteX132" fmla="*/ 288304 w 5734864"/>
              <a:gd name="connsiteY132" fmla="*/ 4962325 h 6858000"/>
              <a:gd name="connsiteX133" fmla="*/ 287420 w 5734864"/>
              <a:gd name="connsiteY133" fmla="*/ 5042193 h 6858000"/>
              <a:gd name="connsiteX134" fmla="*/ 287020 w 5734864"/>
              <a:gd name="connsiteY134" fmla="*/ 5065655 h 6858000"/>
              <a:gd name="connsiteX135" fmla="*/ 288488 w 5734864"/>
              <a:gd name="connsiteY135" fmla="*/ 5082216 h 6858000"/>
              <a:gd name="connsiteX136" fmla="*/ 282763 w 5734864"/>
              <a:gd name="connsiteY136" fmla="*/ 5127114 h 6858000"/>
              <a:gd name="connsiteX137" fmla="*/ 269316 w 5734864"/>
              <a:gd name="connsiteY137" fmla="*/ 5202682 h 6858000"/>
              <a:gd name="connsiteX138" fmla="*/ 269174 w 5734864"/>
              <a:gd name="connsiteY138" fmla="*/ 5230835 h 6858000"/>
              <a:gd name="connsiteX139" fmla="*/ 272679 w 5734864"/>
              <a:gd name="connsiteY139" fmla="*/ 5232660 h 6858000"/>
              <a:gd name="connsiteX140" fmla="*/ 272160 w 5734864"/>
              <a:gd name="connsiteY140" fmla="*/ 5241150 h 6858000"/>
              <a:gd name="connsiteX141" fmla="*/ 272760 w 5734864"/>
              <a:gd name="connsiteY141" fmla="*/ 5243156 h 6858000"/>
              <a:gd name="connsiteX142" fmla="*/ 275462 w 5734864"/>
              <a:gd name="connsiteY142" fmla="*/ 5254919 h 6858000"/>
              <a:gd name="connsiteX143" fmla="*/ 262897 w 5734864"/>
              <a:gd name="connsiteY143" fmla="*/ 5286259 h 6858000"/>
              <a:gd name="connsiteX144" fmla="*/ 252761 w 5734864"/>
              <a:gd name="connsiteY144" fmla="*/ 5357801 h 6858000"/>
              <a:gd name="connsiteX145" fmla="*/ 242360 w 5734864"/>
              <a:gd name="connsiteY145" fmla="*/ 5460080 h 6858000"/>
              <a:gd name="connsiteX146" fmla="*/ 229880 w 5734864"/>
              <a:gd name="connsiteY146" fmla="*/ 5539714 h 6858000"/>
              <a:gd name="connsiteX147" fmla="*/ 204283 w 5734864"/>
              <a:gd name="connsiteY147" fmla="*/ 5639080 h 6858000"/>
              <a:gd name="connsiteX148" fmla="*/ 198948 w 5734864"/>
              <a:gd name="connsiteY148" fmla="*/ 5710958 h 6858000"/>
              <a:gd name="connsiteX149" fmla="*/ 192367 w 5734864"/>
              <a:gd name="connsiteY149" fmla="*/ 5719859 h 6858000"/>
              <a:gd name="connsiteX150" fmla="*/ 188035 w 5734864"/>
              <a:gd name="connsiteY150" fmla="*/ 5729935 h 6858000"/>
              <a:gd name="connsiteX151" fmla="*/ 188428 w 5734864"/>
              <a:gd name="connsiteY151" fmla="*/ 5731182 h 6858000"/>
              <a:gd name="connsiteX152" fmla="*/ 181635 w 5734864"/>
              <a:gd name="connsiteY152" fmla="*/ 5753538 h 6858000"/>
              <a:gd name="connsiteX153" fmla="*/ 169744 w 5734864"/>
              <a:gd name="connsiteY153" fmla="*/ 5796307 h 6858000"/>
              <a:gd name="connsiteX154" fmla="*/ 170351 w 5734864"/>
              <a:gd name="connsiteY154" fmla="*/ 5796644 h 6858000"/>
              <a:gd name="connsiteX155" fmla="*/ 171559 w 5734864"/>
              <a:gd name="connsiteY155" fmla="*/ 5803435 h 6858000"/>
              <a:gd name="connsiteX156" fmla="*/ 172284 w 5734864"/>
              <a:gd name="connsiteY156" fmla="*/ 5816391 h 6858000"/>
              <a:gd name="connsiteX157" fmla="*/ 182542 w 5734864"/>
              <a:gd name="connsiteY157" fmla="*/ 5846382 h 6858000"/>
              <a:gd name="connsiteX158" fmla="*/ 175877 w 5734864"/>
              <a:gd name="connsiteY158" fmla="*/ 5871336 h 6858000"/>
              <a:gd name="connsiteX159" fmla="*/ 174910 w 5734864"/>
              <a:gd name="connsiteY159" fmla="*/ 5876376 h 6858000"/>
              <a:gd name="connsiteX160" fmla="*/ 175047 w 5734864"/>
              <a:gd name="connsiteY160" fmla="*/ 5876483 h 6858000"/>
              <a:gd name="connsiteX161" fmla="*/ 174335 w 5734864"/>
              <a:gd name="connsiteY161" fmla="*/ 5881814 h 6858000"/>
              <a:gd name="connsiteX162" fmla="*/ 171273 w 5734864"/>
              <a:gd name="connsiteY162" fmla="*/ 5895339 h 6858000"/>
              <a:gd name="connsiteX163" fmla="*/ 171658 w 5734864"/>
              <a:gd name="connsiteY163" fmla="*/ 5898749 h 6858000"/>
              <a:gd name="connsiteX164" fmla="*/ 174658 w 5734864"/>
              <a:gd name="connsiteY164" fmla="*/ 5919558 h 6858000"/>
              <a:gd name="connsiteX165" fmla="*/ 169099 w 5734864"/>
              <a:gd name="connsiteY165" fmla="*/ 5984417 h 6858000"/>
              <a:gd name="connsiteX166" fmla="*/ 162007 w 5734864"/>
              <a:gd name="connsiteY166" fmla="*/ 6049043 h 6858000"/>
              <a:gd name="connsiteX167" fmla="*/ 156875 w 5734864"/>
              <a:gd name="connsiteY167" fmla="*/ 6114000 h 6858000"/>
              <a:gd name="connsiteX168" fmla="*/ 165441 w 5734864"/>
              <a:gd name="connsiteY168" fmla="*/ 6146938 h 6858000"/>
              <a:gd name="connsiteX169" fmla="*/ 165177 w 5734864"/>
              <a:gd name="connsiteY169" fmla="*/ 6150658 h 6858000"/>
              <a:gd name="connsiteX170" fmla="*/ 161772 w 5734864"/>
              <a:gd name="connsiteY170" fmla="*/ 6160011 h 6858000"/>
              <a:gd name="connsiteX171" fmla="*/ 160051 w 5734864"/>
              <a:gd name="connsiteY171" fmla="*/ 6163393 h 6858000"/>
              <a:gd name="connsiteX172" fmla="*/ 158473 w 5734864"/>
              <a:gd name="connsiteY172" fmla="*/ 6168628 h 6858000"/>
              <a:gd name="connsiteX173" fmla="*/ 158573 w 5734864"/>
              <a:gd name="connsiteY173" fmla="*/ 6168799 h 6858000"/>
              <a:gd name="connsiteX174" fmla="*/ 146463 w 5734864"/>
              <a:gd name="connsiteY174" fmla="*/ 6196671 h 6858000"/>
              <a:gd name="connsiteX175" fmla="*/ 150209 w 5734864"/>
              <a:gd name="connsiteY175" fmla="*/ 6232365 h 6858000"/>
              <a:gd name="connsiteX176" fmla="*/ 148544 w 5734864"/>
              <a:gd name="connsiteY176" fmla="*/ 6246162 h 6858000"/>
              <a:gd name="connsiteX177" fmla="*/ 148403 w 5734864"/>
              <a:gd name="connsiteY177" fmla="*/ 6253754 h 6858000"/>
              <a:gd name="connsiteX178" fmla="*/ 138880 w 5734864"/>
              <a:gd name="connsiteY178" fmla="*/ 6276449 h 6858000"/>
              <a:gd name="connsiteX179" fmla="*/ 138683 w 5734864"/>
              <a:gd name="connsiteY179" fmla="*/ 6279721 h 6858000"/>
              <a:gd name="connsiteX180" fmla="*/ 130721 w 5734864"/>
              <a:gd name="connsiteY180" fmla="*/ 6293675 h 6858000"/>
              <a:gd name="connsiteX181" fmla="*/ 120717 w 5734864"/>
              <a:gd name="connsiteY181" fmla="*/ 6313967 h 6858000"/>
              <a:gd name="connsiteX182" fmla="*/ 120841 w 5734864"/>
              <a:gd name="connsiteY182" fmla="*/ 6315437 h 6858000"/>
              <a:gd name="connsiteX183" fmla="*/ 115208 w 5734864"/>
              <a:gd name="connsiteY183" fmla="*/ 6324024 h 6858000"/>
              <a:gd name="connsiteX184" fmla="*/ 101217 w 5734864"/>
              <a:gd name="connsiteY184" fmla="*/ 6365923 h 6858000"/>
              <a:gd name="connsiteX185" fmla="*/ 74946 w 5734864"/>
              <a:gd name="connsiteY185" fmla="*/ 6556817 h 6858000"/>
              <a:gd name="connsiteX186" fmla="*/ 16001 w 5734864"/>
              <a:gd name="connsiteY186" fmla="*/ 6808678 h 6858000"/>
              <a:gd name="connsiteX187" fmla="*/ 0 w 5734864"/>
              <a:gd name="connsiteY187" fmla="*/ 6858000 h 6858000"/>
              <a:gd name="connsiteX188" fmla="*/ 5734864 w 5734864"/>
              <a:gd name="connsiteY188" fmla="*/ 685800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6695 w 5734864"/>
              <a:gd name="connsiteY13" fmla="*/ 1035077 h 6858000"/>
              <a:gd name="connsiteX14" fmla="*/ 847865 w 5734864"/>
              <a:gd name="connsiteY14" fmla="*/ 1070795 h 6858000"/>
              <a:gd name="connsiteX15" fmla="*/ 862786 w 5734864"/>
              <a:gd name="connsiteY15" fmla="*/ 1238994 h 6858000"/>
              <a:gd name="connsiteX16" fmla="*/ 859345 w 5734864"/>
              <a:gd name="connsiteY16" fmla="*/ 1380427 h 6858000"/>
              <a:gd name="connsiteX17" fmla="*/ 855172 w 5734864"/>
              <a:gd name="connsiteY17" fmla="*/ 1435262 h 6858000"/>
              <a:gd name="connsiteX18" fmla="*/ 860494 w 5734864"/>
              <a:gd name="connsiteY18" fmla="*/ 1453861 h 6858000"/>
              <a:gd name="connsiteX19" fmla="*/ 853731 w 5734864"/>
              <a:gd name="connsiteY19" fmla="*/ 1467047 h 6858000"/>
              <a:gd name="connsiteX20" fmla="*/ 845847 w 5734864"/>
              <a:gd name="connsiteY20" fmla="*/ 1502307 h 6858000"/>
              <a:gd name="connsiteX21" fmla="*/ 817613 w 5734864"/>
              <a:gd name="connsiteY21" fmla="*/ 1565166 h 6858000"/>
              <a:gd name="connsiteX22" fmla="*/ 804223 w 5734864"/>
              <a:gd name="connsiteY22" fmla="*/ 1601941 h 6858000"/>
              <a:gd name="connsiteX23" fmla="*/ 791773 w 5734864"/>
              <a:gd name="connsiteY23" fmla="*/ 1627005 h 6858000"/>
              <a:gd name="connsiteX24" fmla="*/ 774645 w 5734864"/>
              <a:gd name="connsiteY24" fmla="*/ 1699922 h 6858000"/>
              <a:gd name="connsiteX25" fmla="*/ 752343 w 5734864"/>
              <a:gd name="connsiteY25" fmla="*/ 1824604 h 6858000"/>
              <a:gd name="connsiteX26" fmla="*/ 746254 w 5734864"/>
              <a:gd name="connsiteY26" fmla="*/ 1850222 h 6858000"/>
              <a:gd name="connsiteX27" fmla="*/ 728600 w 5734864"/>
              <a:gd name="connsiteY27" fmla="*/ 1869603 h 6858000"/>
              <a:gd name="connsiteX28" fmla="*/ 724396 w 5734864"/>
              <a:gd name="connsiteY28" fmla="*/ 1883104 h 6858000"/>
              <a:gd name="connsiteX29" fmla="*/ 722165 w 5734864"/>
              <a:gd name="connsiteY29" fmla="*/ 1885924 h 6858000"/>
              <a:gd name="connsiteX30" fmla="*/ 721338 w 5734864"/>
              <a:gd name="connsiteY30" fmla="*/ 1887123 h 6858000"/>
              <a:gd name="connsiteX31" fmla="*/ 714840 w 5734864"/>
              <a:gd name="connsiteY31" fmla="*/ 1902274 h 6858000"/>
              <a:gd name="connsiteX32" fmla="*/ 722847 w 5734864"/>
              <a:gd name="connsiteY32" fmla="*/ 1929891 h 6858000"/>
              <a:gd name="connsiteX33" fmla="*/ 714660 w 5734864"/>
              <a:gd name="connsiteY33" fmla="*/ 1982709 h 6858000"/>
              <a:gd name="connsiteX34" fmla="*/ 710759 w 5734864"/>
              <a:gd name="connsiteY34" fmla="*/ 2013010 h 6858000"/>
              <a:gd name="connsiteX35" fmla="*/ 697927 w 5734864"/>
              <a:gd name="connsiteY35" fmla="*/ 2069833 h 6858000"/>
              <a:gd name="connsiteX36" fmla="*/ 693594 w 5734864"/>
              <a:gd name="connsiteY36" fmla="*/ 2103731 h 6858000"/>
              <a:gd name="connsiteX37" fmla="*/ 691109 w 5734864"/>
              <a:gd name="connsiteY37" fmla="*/ 2124027 h 6858000"/>
              <a:gd name="connsiteX38" fmla="*/ 676593 w 5734864"/>
              <a:gd name="connsiteY38" fmla="*/ 2176182 h 6858000"/>
              <a:gd name="connsiteX39" fmla="*/ 633227 w 5734864"/>
              <a:gd name="connsiteY39" fmla="*/ 2258036 h 6858000"/>
              <a:gd name="connsiteX40" fmla="*/ 625564 w 5734864"/>
              <a:gd name="connsiteY40" fmla="*/ 2284567 h 6858000"/>
              <a:gd name="connsiteX41" fmla="*/ 627074 w 5734864"/>
              <a:gd name="connsiteY41" fmla="*/ 2289605 h 6858000"/>
              <a:gd name="connsiteX42" fmla="*/ 614574 w 5734864"/>
              <a:gd name="connsiteY42" fmla="*/ 2308717 h 6858000"/>
              <a:gd name="connsiteX43" fmla="*/ 606890 w 5734864"/>
              <a:gd name="connsiteY43" fmla="*/ 2320662 h 6858000"/>
              <a:gd name="connsiteX44" fmla="*/ 605558 w 5734864"/>
              <a:gd name="connsiteY44" fmla="*/ 2327897 h 6858000"/>
              <a:gd name="connsiteX45" fmla="*/ 602202 w 5734864"/>
              <a:gd name="connsiteY45" fmla="*/ 2357749 h 6858000"/>
              <a:gd name="connsiteX46" fmla="*/ 600213 w 5734864"/>
              <a:gd name="connsiteY46" fmla="*/ 2364905 h 6858000"/>
              <a:gd name="connsiteX47" fmla="*/ 597160 w 5734864"/>
              <a:gd name="connsiteY47" fmla="*/ 2388351 h 6858000"/>
              <a:gd name="connsiteX48" fmla="*/ 597982 w 5734864"/>
              <a:gd name="connsiteY48" fmla="*/ 2402296 h 6858000"/>
              <a:gd name="connsiteX49" fmla="*/ 593150 w 5734864"/>
              <a:gd name="connsiteY49" fmla="*/ 2420015 h 6858000"/>
              <a:gd name="connsiteX50" fmla="*/ 592833 w 5734864"/>
              <a:gd name="connsiteY50" fmla="*/ 2422749 h 6858000"/>
              <a:gd name="connsiteX51" fmla="*/ 594479 w 5734864"/>
              <a:gd name="connsiteY51" fmla="*/ 2426002 h 6858000"/>
              <a:gd name="connsiteX52" fmla="*/ 591963 w 5734864"/>
              <a:gd name="connsiteY52" fmla="*/ 2431950 h 6858000"/>
              <a:gd name="connsiteX53" fmla="*/ 591544 w 5734864"/>
              <a:gd name="connsiteY53" fmla="*/ 2433897 h 6858000"/>
              <a:gd name="connsiteX54" fmla="*/ 589519 w 5734864"/>
              <a:gd name="connsiteY54" fmla="*/ 2451398 h 6858000"/>
              <a:gd name="connsiteX55" fmla="*/ 590037 w 5734864"/>
              <a:gd name="connsiteY55" fmla="*/ 2455536 h 6858000"/>
              <a:gd name="connsiteX56" fmla="*/ 588179 w 5734864"/>
              <a:gd name="connsiteY56" fmla="*/ 2462981 h 6858000"/>
              <a:gd name="connsiteX57" fmla="*/ 583434 w 5734864"/>
              <a:gd name="connsiteY57" fmla="*/ 2503991 h 6858000"/>
              <a:gd name="connsiteX58" fmla="*/ 567942 w 5734864"/>
              <a:gd name="connsiteY58" fmla="*/ 2652936 h 6858000"/>
              <a:gd name="connsiteX59" fmla="*/ 573869 w 5734864"/>
              <a:gd name="connsiteY59" fmla="*/ 2670188 h 6858000"/>
              <a:gd name="connsiteX60" fmla="*/ 575243 w 5734864"/>
              <a:gd name="connsiteY60" fmla="*/ 2688114 h 6858000"/>
              <a:gd name="connsiteX61" fmla="*/ 573824 w 5734864"/>
              <a:gd name="connsiteY61" fmla="*/ 2689856 h 6858000"/>
              <a:gd name="connsiteX62" fmla="*/ 570699 w 5734864"/>
              <a:gd name="connsiteY62" fmla="*/ 2709353 h 6858000"/>
              <a:gd name="connsiteX63" fmla="*/ 573192 w 5734864"/>
              <a:gd name="connsiteY63" fmla="*/ 2714527 h 6858000"/>
              <a:gd name="connsiteX64" fmla="*/ 572044 w 5734864"/>
              <a:gd name="connsiteY64" fmla="*/ 2728187 h 6858000"/>
              <a:gd name="connsiteX65" fmla="*/ 572465 w 5734864"/>
              <a:gd name="connsiteY65" fmla="*/ 2755863 h 6858000"/>
              <a:gd name="connsiteX66" fmla="*/ 570028 w 5734864"/>
              <a:gd name="connsiteY66" fmla="*/ 2760324 h 6858000"/>
              <a:gd name="connsiteX67" fmla="*/ 566748 w 5734864"/>
              <a:gd name="connsiteY67" fmla="*/ 2800948 h 6858000"/>
              <a:gd name="connsiteX68" fmla="*/ 565509 w 5734864"/>
              <a:gd name="connsiteY68" fmla="*/ 2801167 h 6858000"/>
              <a:gd name="connsiteX69" fmla="*/ 559367 w 5734864"/>
              <a:gd name="connsiteY69" fmla="*/ 2811129 h 6858000"/>
              <a:gd name="connsiteX70" fmla="*/ 550354 w 5734864"/>
              <a:gd name="connsiteY70" fmla="*/ 2830949 h 6858000"/>
              <a:gd name="connsiteX71" fmla="*/ 514795 w 5734864"/>
              <a:gd name="connsiteY71" fmla="*/ 2872433 h 6858000"/>
              <a:gd name="connsiteX72" fmla="*/ 509875 w 5734864"/>
              <a:gd name="connsiteY72" fmla="*/ 2923099 h 6858000"/>
              <a:gd name="connsiteX73" fmla="*/ 509577 w 5734864"/>
              <a:gd name="connsiteY73" fmla="*/ 2923197 h 6858000"/>
              <a:gd name="connsiteX74" fmla="*/ 507597 w 5734864"/>
              <a:gd name="connsiteY74" fmla="*/ 2931868 h 6858000"/>
              <a:gd name="connsiteX75" fmla="*/ 507379 w 5734864"/>
              <a:gd name="connsiteY75" fmla="*/ 2938322 h 6858000"/>
              <a:gd name="connsiteX76" fmla="*/ 504725 w 5734864"/>
              <a:gd name="connsiteY76" fmla="*/ 2954519 h 6858000"/>
              <a:gd name="connsiteX77" fmla="*/ 502018 w 5734864"/>
              <a:gd name="connsiteY77" fmla="*/ 2959643 h 6858000"/>
              <a:gd name="connsiteX78" fmla="*/ 498360 w 5734864"/>
              <a:gd name="connsiteY78" fmla="*/ 2961019 h 6858000"/>
              <a:gd name="connsiteX79" fmla="*/ 498483 w 5734864"/>
              <a:gd name="connsiteY79" fmla="*/ 2962590 h 6858000"/>
              <a:gd name="connsiteX80" fmla="*/ 484403 w 5734864"/>
              <a:gd name="connsiteY80" fmla="*/ 2990538 h 6858000"/>
              <a:gd name="connsiteX81" fmla="*/ 463075 w 5734864"/>
              <a:gd name="connsiteY81" fmla="*/ 3055956 h 6858000"/>
              <a:gd name="connsiteX82" fmla="*/ 455013 w 5734864"/>
              <a:gd name="connsiteY82" fmla="*/ 3094482 h 6858000"/>
              <a:gd name="connsiteX83" fmla="*/ 428391 w 5734864"/>
              <a:gd name="connsiteY83" fmla="*/ 3198850 h 6858000"/>
              <a:gd name="connsiteX84" fmla="*/ 401440 w 5734864"/>
              <a:gd name="connsiteY84" fmla="*/ 3307560 h 6858000"/>
              <a:gd name="connsiteX85" fmla="*/ 386076 w 5734864"/>
              <a:gd name="connsiteY85" fmla="*/ 3373943 h 6858000"/>
              <a:gd name="connsiteX86" fmla="*/ 374726 w 5734864"/>
              <a:gd name="connsiteY86" fmla="*/ 3381364 h 6858000"/>
              <a:gd name="connsiteX87" fmla="*/ 369145 w 5734864"/>
              <a:gd name="connsiteY87" fmla="*/ 3383729 h 6858000"/>
              <a:gd name="connsiteX88" fmla="*/ 364294 w 5734864"/>
              <a:gd name="connsiteY88" fmla="*/ 3414159 h 6858000"/>
              <a:gd name="connsiteX89" fmla="*/ 366450 w 5734864"/>
              <a:gd name="connsiteY89" fmla="*/ 3436925 h 6858000"/>
              <a:gd name="connsiteX90" fmla="*/ 351743 w 5734864"/>
              <a:gd name="connsiteY90" fmla="*/ 3521619 h 6858000"/>
              <a:gd name="connsiteX91" fmla="*/ 345784 w 5734864"/>
              <a:gd name="connsiteY91" fmla="*/ 3603757 h 6858000"/>
              <a:gd name="connsiteX92" fmla="*/ 344198 w 5734864"/>
              <a:gd name="connsiteY92" fmla="*/ 3652424 h 6858000"/>
              <a:gd name="connsiteX93" fmla="*/ 352450 w 5734864"/>
              <a:gd name="connsiteY93" fmla="*/ 3665222 h 6858000"/>
              <a:gd name="connsiteX94" fmla="*/ 342621 w 5734864"/>
              <a:gd name="connsiteY94" fmla="*/ 3700804 h 6858000"/>
              <a:gd name="connsiteX95" fmla="*/ 341514 w 5734864"/>
              <a:gd name="connsiteY95" fmla="*/ 3734774 h 6858000"/>
              <a:gd name="connsiteX96" fmla="*/ 340607 w 5734864"/>
              <a:gd name="connsiteY96" fmla="*/ 3785153 h 6858000"/>
              <a:gd name="connsiteX97" fmla="*/ 340707 w 5734864"/>
              <a:gd name="connsiteY97" fmla="*/ 3788177 h 6858000"/>
              <a:gd name="connsiteX98" fmla="*/ 340361 w 5734864"/>
              <a:gd name="connsiteY98" fmla="*/ 3798803 h 6858000"/>
              <a:gd name="connsiteX99" fmla="*/ 339642 w 5734864"/>
              <a:gd name="connsiteY99" fmla="*/ 3838750 h 6858000"/>
              <a:gd name="connsiteX100" fmla="*/ 360295 w 5734864"/>
              <a:gd name="connsiteY100" fmla="*/ 4015196 h 6858000"/>
              <a:gd name="connsiteX101" fmla="*/ 339043 w 5734864"/>
              <a:gd name="connsiteY101" fmla="*/ 4052778 h 6858000"/>
              <a:gd name="connsiteX102" fmla="*/ 339343 w 5734864"/>
              <a:gd name="connsiteY102" fmla="*/ 4096257 h 6858000"/>
              <a:gd name="connsiteX103" fmla="*/ 340786 w 5734864"/>
              <a:gd name="connsiteY103" fmla="*/ 4321136 h 6858000"/>
              <a:gd name="connsiteX104" fmla="*/ 343158 w 5734864"/>
              <a:gd name="connsiteY104" fmla="*/ 4429174 h 6858000"/>
              <a:gd name="connsiteX105" fmla="*/ 334599 w 5734864"/>
              <a:gd name="connsiteY105" fmla="*/ 4449938 h 6858000"/>
              <a:gd name="connsiteX106" fmla="*/ 332890 w 5734864"/>
              <a:gd name="connsiteY106" fmla="*/ 4453515 h 6858000"/>
              <a:gd name="connsiteX107" fmla="*/ 331105 w 5734864"/>
              <a:gd name="connsiteY107" fmla="*/ 4467941 h 6858000"/>
              <a:gd name="connsiteX108" fmla="*/ 324289 w 5734864"/>
              <a:gd name="connsiteY108" fmla="*/ 4471861 h 6858000"/>
              <a:gd name="connsiteX109" fmla="*/ 317079 w 5734864"/>
              <a:gd name="connsiteY109" fmla="*/ 4493468 h 6858000"/>
              <a:gd name="connsiteX110" fmla="*/ 315557 w 5734864"/>
              <a:gd name="connsiteY110" fmla="*/ 4520067 h 6858000"/>
              <a:gd name="connsiteX111" fmla="*/ 315240 w 5734864"/>
              <a:gd name="connsiteY111" fmla="*/ 4536872 h 6858000"/>
              <a:gd name="connsiteX112" fmla="*/ 316200 w 5734864"/>
              <a:gd name="connsiteY112" fmla="*/ 4538297 h 6858000"/>
              <a:gd name="connsiteX113" fmla="*/ 317507 w 5734864"/>
              <a:gd name="connsiteY113" fmla="*/ 4547582 h 6858000"/>
              <a:gd name="connsiteX114" fmla="*/ 323078 w 5734864"/>
              <a:gd name="connsiteY114" fmla="*/ 4592102 h 6858000"/>
              <a:gd name="connsiteX115" fmla="*/ 328722 w 5734864"/>
              <a:gd name="connsiteY115" fmla="*/ 4667914 h 6858000"/>
              <a:gd name="connsiteX116" fmla="*/ 335597 w 5734864"/>
              <a:gd name="connsiteY116" fmla="*/ 4695035 h 6858000"/>
              <a:gd name="connsiteX117" fmla="*/ 339485 w 5734864"/>
              <a:gd name="connsiteY117" fmla="*/ 4695979 h 6858000"/>
              <a:gd name="connsiteX118" fmla="*/ 341089 w 5734864"/>
              <a:gd name="connsiteY118" fmla="*/ 4704268 h 6858000"/>
              <a:gd name="connsiteX119" fmla="*/ 342177 w 5734864"/>
              <a:gd name="connsiteY119" fmla="*/ 4706060 h 6858000"/>
              <a:gd name="connsiteX120" fmla="*/ 347751 w 5734864"/>
              <a:gd name="connsiteY120" fmla="*/ 4716754 h 6858000"/>
              <a:gd name="connsiteX121" fmla="*/ 344125 w 5734864"/>
              <a:gd name="connsiteY121" fmla="*/ 4764669 h 6858000"/>
              <a:gd name="connsiteX122" fmla="*/ 340188 w 5734864"/>
              <a:gd name="connsiteY122" fmla="*/ 4779386 h 6858000"/>
              <a:gd name="connsiteX123" fmla="*/ 335146 w 5734864"/>
              <a:gd name="connsiteY123" fmla="*/ 4787491 h 6858000"/>
              <a:gd name="connsiteX124" fmla="*/ 319124 w 5734864"/>
              <a:gd name="connsiteY124" fmla="*/ 4843514 h 6858000"/>
              <a:gd name="connsiteX125" fmla="*/ 305956 w 5734864"/>
              <a:gd name="connsiteY125" fmla="*/ 4881505 h 6858000"/>
              <a:gd name="connsiteX126" fmla="*/ 301062 w 5734864"/>
              <a:gd name="connsiteY126" fmla="*/ 4889332 h 6858000"/>
              <a:gd name="connsiteX127" fmla="*/ 302141 w 5734864"/>
              <a:gd name="connsiteY127" fmla="*/ 4899400 h 6858000"/>
              <a:gd name="connsiteX128" fmla="*/ 304424 w 5734864"/>
              <a:gd name="connsiteY128" fmla="*/ 4902664 h 6858000"/>
              <a:gd name="connsiteX129" fmla="*/ 293123 w 5734864"/>
              <a:gd name="connsiteY129" fmla="*/ 4932769 h 6858000"/>
              <a:gd name="connsiteX130" fmla="*/ 292275 w 5734864"/>
              <a:gd name="connsiteY130" fmla="*/ 4936482 h 6858000"/>
              <a:gd name="connsiteX131" fmla="*/ 288304 w 5734864"/>
              <a:gd name="connsiteY131" fmla="*/ 4962325 h 6858000"/>
              <a:gd name="connsiteX132" fmla="*/ 287420 w 5734864"/>
              <a:gd name="connsiteY132" fmla="*/ 5042193 h 6858000"/>
              <a:gd name="connsiteX133" fmla="*/ 287020 w 5734864"/>
              <a:gd name="connsiteY133" fmla="*/ 5065655 h 6858000"/>
              <a:gd name="connsiteX134" fmla="*/ 288488 w 5734864"/>
              <a:gd name="connsiteY134" fmla="*/ 5082216 h 6858000"/>
              <a:gd name="connsiteX135" fmla="*/ 282763 w 5734864"/>
              <a:gd name="connsiteY135" fmla="*/ 5127114 h 6858000"/>
              <a:gd name="connsiteX136" fmla="*/ 269316 w 5734864"/>
              <a:gd name="connsiteY136" fmla="*/ 5202682 h 6858000"/>
              <a:gd name="connsiteX137" fmla="*/ 269174 w 5734864"/>
              <a:gd name="connsiteY137" fmla="*/ 5230835 h 6858000"/>
              <a:gd name="connsiteX138" fmla="*/ 272679 w 5734864"/>
              <a:gd name="connsiteY138" fmla="*/ 5232660 h 6858000"/>
              <a:gd name="connsiteX139" fmla="*/ 272160 w 5734864"/>
              <a:gd name="connsiteY139" fmla="*/ 5241150 h 6858000"/>
              <a:gd name="connsiteX140" fmla="*/ 272760 w 5734864"/>
              <a:gd name="connsiteY140" fmla="*/ 5243156 h 6858000"/>
              <a:gd name="connsiteX141" fmla="*/ 275462 w 5734864"/>
              <a:gd name="connsiteY141" fmla="*/ 5254919 h 6858000"/>
              <a:gd name="connsiteX142" fmla="*/ 262897 w 5734864"/>
              <a:gd name="connsiteY142" fmla="*/ 5286259 h 6858000"/>
              <a:gd name="connsiteX143" fmla="*/ 252761 w 5734864"/>
              <a:gd name="connsiteY143" fmla="*/ 5357801 h 6858000"/>
              <a:gd name="connsiteX144" fmla="*/ 242360 w 5734864"/>
              <a:gd name="connsiteY144" fmla="*/ 5460080 h 6858000"/>
              <a:gd name="connsiteX145" fmla="*/ 229880 w 5734864"/>
              <a:gd name="connsiteY145" fmla="*/ 5539714 h 6858000"/>
              <a:gd name="connsiteX146" fmla="*/ 204283 w 5734864"/>
              <a:gd name="connsiteY146" fmla="*/ 5639080 h 6858000"/>
              <a:gd name="connsiteX147" fmla="*/ 198948 w 5734864"/>
              <a:gd name="connsiteY147" fmla="*/ 5710958 h 6858000"/>
              <a:gd name="connsiteX148" fmla="*/ 192367 w 5734864"/>
              <a:gd name="connsiteY148" fmla="*/ 5719859 h 6858000"/>
              <a:gd name="connsiteX149" fmla="*/ 188035 w 5734864"/>
              <a:gd name="connsiteY149" fmla="*/ 5729935 h 6858000"/>
              <a:gd name="connsiteX150" fmla="*/ 188428 w 5734864"/>
              <a:gd name="connsiteY150" fmla="*/ 5731182 h 6858000"/>
              <a:gd name="connsiteX151" fmla="*/ 181635 w 5734864"/>
              <a:gd name="connsiteY151" fmla="*/ 5753538 h 6858000"/>
              <a:gd name="connsiteX152" fmla="*/ 169744 w 5734864"/>
              <a:gd name="connsiteY152" fmla="*/ 5796307 h 6858000"/>
              <a:gd name="connsiteX153" fmla="*/ 170351 w 5734864"/>
              <a:gd name="connsiteY153" fmla="*/ 5796644 h 6858000"/>
              <a:gd name="connsiteX154" fmla="*/ 171559 w 5734864"/>
              <a:gd name="connsiteY154" fmla="*/ 5803435 h 6858000"/>
              <a:gd name="connsiteX155" fmla="*/ 172284 w 5734864"/>
              <a:gd name="connsiteY155" fmla="*/ 5816391 h 6858000"/>
              <a:gd name="connsiteX156" fmla="*/ 182542 w 5734864"/>
              <a:gd name="connsiteY156" fmla="*/ 5846382 h 6858000"/>
              <a:gd name="connsiteX157" fmla="*/ 175877 w 5734864"/>
              <a:gd name="connsiteY157" fmla="*/ 5871336 h 6858000"/>
              <a:gd name="connsiteX158" fmla="*/ 174910 w 5734864"/>
              <a:gd name="connsiteY158" fmla="*/ 5876376 h 6858000"/>
              <a:gd name="connsiteX159" fmla="*/ 175047 w 5734864"/>
              <a:gd name="connsiteY159" fmla="*/ 5876483 h 6858000"/>
              <a:gd name="connsiteX160" fmla="*/ 174335 w 5734864"/>
              <a:gd name="connsiteY160" fmla="*/ 5881814 h 6858000"/>
              <a:gd name="connsiteX161" fmla="*/ 171273 w 5734864"/>
              <a:gd name="connsiteY161" fmla="*/ 5895339 h 6858000"/>
              <a:gd name="connsiteX162" fmla="*/ 171658 w 5734864"/>
              <a:gd name="connsiteY162" fmla="*/ 5898749 h 6858000"/>
              <a:gd name="connsiteX163" fmla="*/ 174658 w 5734864"/>
              <a:gd name="connsiteY163" fmla="*/ 5919558 h 6858000"/>
              <a:gd name="connsiteX164" fmla="*/ 169099 w 5734864"/>
              <a:gd name="connsiteY164" fmla="*/ 5984417 h 6858000"/>
              <a:gd name="connsiteX165" fmla="*/ 162007 w 5734864"/>
              <a:gd name="connsiteY165" fmla="*/ 6049043 h 6858000"/>
              <a:gd name="connsiteX166" fmla="*/ 156875 w 5734864"/>
              <a:gd name="connsiteY166" fmla="*/ 6114000 h 6858000"/>
              <a:gd name="connsiteX167" fmla="*/ 165441 w 5734864"/>
              <a:gd name="connsiteY167" fmla="*/ 6146938 h 6858000"/>
              <a:gd name="connsiteX168" fmla="*/ 165177 w 5734864"/>
              <a:gd name="connsiteY168" fmla="*/ 6150658 h 6858000"/>
              <a:gd name="connsiteX169" fmla="*/ 161772 w 5734864"/>
              <a:gd name="connsiteY169" fmla="*/ 6160011 h 6858000"/>
              <a:gd name="connsiteX170" fmla="*/ 160051 w 5734864"/>
              <a:gd name="connsiteY170" fmla="*/ 6163393 h 6858000"/>
              <a:gd name="connsiteX171" fmla="*/ 158473 w 5734864"/>
              <a:gd name="connsiteY171" fmla="*/ 6168628 h 6858000"/>
              <a:gd name="connsiteX172" fmla="*/ 158573 w 5734864"/>
              <a:gd name="connsiteY172" fmla="*/ 6168799 h 6858000"/>
              <a:gd name="connsiteX173" fmla="*/ 146463 w 5734864"/>
              <a:gd name="connsiteY173" fmla="*/ 6196671 h 6858000"/>
              <a:gd name="connsiteX174" fmla="*/ 150209 w 5734864"/>
              <a:gd name="connsiteY174" fmla="*/ 6232365 h 6858000"/>
              <a:gd name="connsiteX175" fmla="*/ 148544 w 5734864"/>
              <a:gd name="connsiteY175" fmla="*/ 6246162 h 6858000"/>
              <a:gd name="connsiteX176" fmla="*/ 148403 w 5734864"/>
              <a:gd name="connsiteY176" fmla="*/ 6253754 h 6858000"/>
              <a:gd name="connsiteX177" fmla="*/ 138880 w 5734864"/>
              <a:gd name="connsiteY177" fmla="*/ 6276449 h 6858000"/>
              <a:gd name="connsiteX178" fmla="*/ 138683 w 5734864"/>
              <a:gd name="connsiteY178" fmla="*/ 6279721 h 6858000"/>
              <a:gd name="connsiteX179" fmla="*/ 130721 w 5734864"/>
              <a:gd name="connsiteY179" fmla="*/ 6293675 h 6858000"/>
              <a:gd name="connsiteX180" fmla="*/ 120717 w 5734864"/>
              <a:gd name="connsiteY180" fmla="*/ 6313967 h 6858000"/>
              <a:gd name="connsiteX181" fmla="*/ 120841 w 5734864"/>
              <a:gd name="connsiteY181" fmla="*/ 6315437 h 6858000"/>
              <a:gd name="connsiteX182" fmla="*/ 115208 w 5734864"/>
              <a:gd name="connsiteY182" fmla="*/ 6324024 h 6858000"/>
              <a:gd name="connsiteX183" fmla="*/ 101217 w 5734864"/>
              <a:gd name="connsiteY183" fmla="*/ 6365923 h 6858000"/>
              <a:gd name="connsiteX184" fmla="*/ 74946 w 5734864"/>
              <a:gd name="connsiteY184" fmla="*/ 6556817 h 6858000"/>
              <a:gd name="connsiteX185" fmla="*/ 16001 w 5734864"/>
              <a:gd name="connsiteY185" fmla="*/ 6808678 h 6858000"/>
              <a:gd name="connsiteX186" fmla="*/ 0 w 5734864"/>
              <a:gd name="connsiteY186" fmla="*/ 6858000 h 6858000"/>
              <a:gd name="connsiteX187" fmla="*/ 5734864 w 5734864"/>
              <a:gd name="connsiteY187" fmla="*/ 6858000 h 6858000"/>
              <a:gd name="connsiteX188" fmla="*/ 5734864 w 5734864"/>
              <a:gd name="connsiteY188" fmla="*/ 0 h 6858000"/>
              <a:gd name="connsiteX0" fmla="*/ 5734864 w 5734864"/>
              <a:gd name="connsiteY0" fmla="*/ 0 h 6858000"/>
              <a:gd name="connsiteX1" fmla="*/ 771611 w 5734864"/>
              <a:gd name="connsiteY1" fmla="*/ 0 h 6858000"/>
              <a:gd name="connsiteX2" fmla="*/ 771679 w 5734864"/>
              <a:gd name="connsiteY2" fmla="*/ 49108 h 6858000"/>
              <a:gd name="connsiteX3" fmla="*/ 794248 w 5734864"/>
              <a:gd name="connsiteY3" fmla="*/ 200968 h 6858000"/>
              <a:gd name="connsiteX4" fmla="*/ 801749 w 5734864"/>
              <a:gd name="connsiteY4" fmla="*/ 414071 h 6858000"/>
              <a:gd name="connsiteX5" fmla="*/ 818548 w 5734864"/>
              <a:gd name="connsiteY5" fmla="*/ 585467 h 6858000"/>
              <a:gd name="connsiteX6" fmla="*/ 857476 w 5734864"/>
              <a:gd name="connsiteY6" fmla="*/ 800623 h 6858000"/>
              <a:gd name="connsiteX7" fmla="*/ 851083 w 5734864"/>
              <a:gd name="connsiteY7" fmla="*/ 878903 h 6858000"/>
              <a:gd name="connsiteX8" fmla="*/ 873564 w 5734864"/>
              <a:gd name="connsiteY8" fmla="*/ 943826 h 6858000"/>
              <a:gd name="connsiteX9" fmla="*/ 864705 w 5734864"/>
              <a:gd name="connsiteY9" fmla="*/ 973328 h 6858000"/>
              <a:gd name="connsiteX10" fmla="*/ 862869 w 5734864"/>
              <a:gd name="connsiteY10" fmla="*/ 978457 h 6858000"/>
              <a:gd name="connsiteX11" fmla="*/ 862233 w 5734864"/>
              <a:gd name="connsiteY11" fmla="*/ 998041 h 6858000"/>
              <a:gd name="connsiteX12" fmla="*/ 853665 w 5734864"/>
              <a:gd name="connsiteY12" fmla="*/ 1004750 h 6858000"/>
              <a:gd name="connsiteX13" fmla="*/ 847865 w 5734864"/>
              <a:gd name="connsiteY13" fmla="*/ 1070795 h 6858000"/>
              <a:gd name="connsiteX14" fmla="*/ 862786 w 5734864"/>
              <a:gd name="connsiteY14" fmla="*/ 1238994 h 6858000"/>
              <a:gd name="connsiteX15" fmla="*/ 859345 w 5734864"/>
              <a:gd name="connsiteY15" fmla="*/ 1380427 h 6858000"/>
              <a:gd name="connsiteX16" fmla="*/ 855172 w 5734864"/>
              <a:gd name="connsiteY16" fmla="*/ 1435262 h 6858000"/>
              <a:gd name="connsiteX17" fmla="*/ 860494 w 5734864"/>
              <a:gd name="connsiteY17" fmla="*/ 1453861 h 6858000"/>
              <a:gd name="connsiteX18" fmla="*/ 853731 w 5734864"/>
              <a:gd name="connsiteY18" fmla="*/ 1467047 h 6858000"/>
              <a:gd name="connsiteX19" fmla="*/ 845847 w 5734864"/>
              <a:gd name="connsiteY19" fmla="*/ 1502307 h 6858000"/>
              <a:gd name="connsiteX20" fmla="*/ 817613 w 5734864"/>
              <a:gd name="connsiteY20" fmla="*/ 1565166 h 6858000"/>
              <a:gd name="connsiteX21" fmla="*/ 804223 w 5734864"/>
              <a:gd name="connsiteY21" fmla="*/ 1601941 h 6858000"/>
              <a:gd name="connsiteX22" fmla="*/ 791773 w 5734864"/>
              <a:gd name="connsiteY22" fmla="*/ 1627005 h 6858000"/>
              <a:gd name="connsiteX23" fmla="*/ 774645 w 5734864"/>
              <a:gd name="connsiteY23" fmla="*/ 1699922 h 6858000"/>
              <a:gd name="connsiteX24" fmla="*/ 752343 w 5734864"/>
              <a:gd name="connsiteY24" fmla="*/ 1824604 h 6858000"/>
              <a:gd name="connsiteX25" fmla="*/ 746254 w 5734864"/>
              <a:gd name="connsiteY25" fmla="*/ 1850222 h 6858000"/>
              <a:gd name="connsiteX26" fmla="*/ 728600 w 5734864"/>
              <a:gd name="connsiteY26" fmla="*/ 1869603 h 6858000"/>
              <a:gd name="connsiteX27" fmla="*/ 724396 w 5734864"/>
              <a:gd name="connsiteY27" fmla="*/ 1883104 h 6858000"/>
              <a:gd name="connsiteX28" fmla="*/ 722165 w 5734864"/>
              <a:gd name="connsiteY28" fmla="*/ 1885924 h 6858000"/>
              <a:gd name="connsiteX29" fmla="*/ 721338 w 5734864"/>
              <a:gd name="connsiteY29" fmla="*/ 1887123 h 6858000"/>
              <a:gd name="connsiteX30" fmla="*/ 714840 w 5734864"/>
              <a:gd name="connsiteY30" fmla="*/ 1902274 h 6858000"/>
              <a:gd name="connsiteX31" fmla="*/ 722847 w 5734864"/>
              <a:gd name="connsiteY31" fmla="*/ 1929891 h 6858000"/>
              <a:gd name="connsiteX32" fmla="*/ 714660 w 5734864"/>
              <a:gd name="connsiteY32" fmla="*/ 1982709 h 6858000"/>
              <a:gd name="connsiteX33" fmla="*/ 710759 w 5734864"/>
              <a:gd name="connsiteY33" fmla="*/ 2013010 h 6858000"/>
              <a:gd name="connsiteX34" fmla="*/ 697927 w 5734864"/>
              <a:gd name="connsiteY34" fmla="*/ 2069833 h 6858000"/>
              <a:gd name="connsiteX35" fmla="*/ 693594 w 5734864"/>
              <a:gd name="connsiteY35" fmla="*/ 2103731 h 6858000"/>
              <a:gd name="connsiteX36" fmla="*/ 691109 w 5734864"/>
              <a:gd name="connsiteY36" fmla="*/ 2124027 h 6858000"/>
              <a:gd name="connsiteX37" fmla="*/ 676593 w 5734864"/>
              <a:gd name="connsiteY37" fmla="*/ 2176182 h 6858000"/>
              <a:gd name="connsiteX38" fmla="*/ 633227 w 5734864"/>
              <a:gd name="connsiteY38" fmla="*/ 2258036 h 6858000"/>
              <a:gd name="connsiteX39" fmla="*/ 625564 w 5734864"/>
              <a:gd name="connsiteY39" fmla="*/ 2284567 h 6858000"/>
              <a:gd name="connsiteX40" fmla="*/ 627074 w 5734864"/>
              <a:gd name="connsiteY40" fmla="*/ 2289605 h 6858000"/>
              <a:gd name="connsiteX41" fmla="*/ 614574 w 5734864"/>
              <a:gd name="connsiteY41" fmla="*/ 2308717 h 6858000"/>
              <a:gd name="connsiteX42" fmla="*/ 606890 w 5734864"/>
              <a:gd name="connsiteY42" fmla="*/ 2320662 h 6858000"/>
              <a:gd name="connsiteX43" fmla="*/ 605558 w 5734864"/>
              <a:gd name="connsiteY43" fmla="*/ 2327897 h 6858000"/>
              <a:gd name="connsiteX44" fmla="*/ 602202 w 5734864"/>
              <a:gd name="connsiteY44" fmla="*/ 2357749 h 6858000"/>
              <a:gd name="connsiteX45" fmla="*/ 600213 w 5734864"/>
              <a:gd name="connsiteY45" fmla="*/ 2364905 h 6858000"/>
              <a:gd name="connsiteX46" fmla="*/ 597160 w 5734864"/>
              <a:gd name="connsiteY46" fmla="*/ 2388351 h 6858000"/>
              <a:gd name="connsiteX47" fmla="*/ 597982 w 5734864"/>
              <a:gd name="connsiteY47" fmla="*/ 2402296 h 6858000"/>
              <a:gd name="connsiteX48" fmla="*/ 593150 w 5734864"/>
              <a:gd name="connsiteY48" fmla="*/ 2420015 h 6858000"/>
              <a:gd name="connsiteX49" fmla="*/ 592833 w 5734864"/>
              <a:gd name="connsiteY49" fmla="*/ 2422749 h 6858000"/>
              <a:gd name="connsiteX50" fmla="*/ 594479 w 5734864"/>
              <a:gd name="connsiteY50" fmla="*/ 2426002 h 6858000"/>
              <a:gd name="connsiteX51" fmla="*/ 591963 w 5734864"/>
              <a:gd name="connsiteY51" fmla="*/ 2431950 h 6858000"/>
              <a:gd name="connsiteX52" fmla="*/ 591544 w 5734864"/>
              <a:gd name="connsiteY52" fmla="*/ 2433897 h 6858000"/>
              <a:gd name="connsiteX53" fmla="*/ 589519 w 5734864"/>
              <a:gd name="connsiteY53" fmla="*/ 2451398 h 6858000"/>
              <a:gd name="connsiteX54" fmla="*/ 590037 w 5734864"/>
              <a:gd name="connsiteY54" fmla="*/ 2455536 h 6858000"/>
              <a:gd name="connsiteX55" fmla="*/ 588179 w 5734864"/>
              <a:gd name="connsiteY55" fmla="*/ 2462981 h 6858000"/>
              <a:gd name="connsiteX56" fmla="*/ 583434 w 5734864"/>
              <a:gd name="connsiteY56" fmla="*/ 2503991 h 6858000"/>
              <a:gd name="connsiteX57" fmla="*/ 567942 w 5734864"/>
              <a:gd name="connsiteY57" fmla="*/ 2652936 h 6858000"/>
              <a:gd name="connsiteX58" fmla="*/ 573869 w 5734864"/>
              <a:gd name="connsiteY58" fmla="*/ 2670188 h 6858000"/>
              <a:gd name="connsiteX59" fmla="*/ 575243 w 5734864"/>
              <a:gd name="connsiteY59" fmla="*/ 2688114 h 6858000"/>
              <a:gd name="connsiteX60" fmla="*/ 573824 w 5734864"/>
              <a:gd name="connsiteY60" fmla="*/ 2689856 h 6858000"/>
              <a:gd name="connsiteX61" fmla="*/ 570699 w 5734864"/>
              <a:gd name="connsiteY61" fmla="*/ 2709353 h 6858000"/>
              <a:gd name="connsiteX62" fmla="*/ 573192 w 5734864"/>
              <a:gd name="connsiteY62" fmla="*/ 2714527 h 6858000"/>
              <a:gd name="connsiteX63" fmla="*/ 572044 w 5734864"/>
              <a:gd name="connsiteY63" fmla="*/ 2728187 h 6858000"/>
              <a:gd name="connsiteX64" fmla="*/ 572465 w 5734864"/>
              <a:gd name="connsiteY64" fmla="*/ 2755863 h 6858000"/>
              <a:gd name="connsiteX65" fmla="*/ 570028 w 5734864"/>
              <a:gd name="connsiteY65" fmla="*/ 2760324 h 6858000"/>
              <a:gd name="connsiteX66" fmla="*/ 566748 w 5734864"/>
              <a:gd name="connsiteY66" fmla="*/ 2800948 h 6858000"/>
              <a:gd name="connsiteX67" fmla="*/ 565509 w 5734864"/>
              <a:gd name="connsiteY67" fmla="*/ 2801167 h 6858000"/>
              <a:gd name="connsiteX68" fmla="*/ 559367 w 5734864"/>
              <a:gd name="connsiteY68" fmla="*/ 2811129 h 6858000"/>
              <a:gd name="connsiteX69" fmla="*/ 550354 w 5734864"/>
              <a:gd name="connsiteY69" fmla="*/ 2830949 h 6858000"/>
              <a:gd name="connsiteX70" fmla="*/ 514795 w 5734864"/>
              <a:gd name="connsiteY70" fmla="*/ 2872433 h 6858000"/>
              <a:gd name="connsiteX71" fmla="*/ 509875 w 5734864"/>
              <a:gd name="connsiteY71" fmla="*/ 2923099 h 6858000"/>
              <a:gd name="connsiteX72" fmla="*/ 509577 w 5734864"/>
              <a:gd name="connsiteY72" fmla="*/ 2923197 h 6858000"/>
              <a:gd name="connsiteX73" fmla="*/ 507597 w 5734864"/>
              <a:gd name="connsiteY73" fmla="*/ 2931868 h 6858000"/>
              <a:gd name="connsiteX74" fmla="*/ 507379 w 5734864"/>
              <a:gd name="connsiteY74" fmla="*/ 2938322 h 6858000"/>
              <a:gd name="connsiteX75" fmla="*/ 504725 w 5734864"/>
              <a:gd name="connsiteY75" fmla="*/ 2954519 h 6858000"/>
              <a:gd name="connsiteX76" fmla="*/ 502018 w 5734864"/>
              <a:gd name="connsiteY76" fmla="*/ 2959643 h 6858000"/>
              <a:gd name="connsiteX77" fmla="*/ 498360 w 5734864"/>
              <a:gd name="connsiteY77" fmla="*/ 2961019 h 6858000"/>
              <a:gd name="connsiteX78" fmla="*/ 498483 w 5734864"/>
              <a:gd name="connsiteY78" fmla="*/ 2962590 h 6858000"/>
              <a:gd name="connsiteX79" fmla="*/ 484403 w 5734864"/>
              <a:gd name="connsiteY79" fmla="*/ 2990538 h 6858000"/>
              <a:gd name="connsiteX80" fmla="*/ 463075 w 5734864"/>
              <a:gd name="connsiteY80" fmla="*/ 3055956 h 6858000"/>
              <a:gd name="connsiteX81" fmla="*/ 455013 w 5734864"/>
              <a:gd name="connsiteY81" fmla="*/ 3094482 h 6858000"/>
              <a:gd name="connsiteX82" fmla="*/ 428391 w 5734864"/>
              <a:gd name="connsiteY82" fmla="*/ 3198850 h 6858000"/>
              <a:gd name="connsiteX83" fmla="*/ 401440 w 5734864"/>
              <a:gd name="connsiteY83" fmla="*/ 3307560 h 6858000"/>
              <a:gd name="connsiteX84" fmla="*/ 386076 w 5734864"/>
              <a:gd name="connsiteY84" fmla="*/ 3373943 h 6858000"/>
              <a:gd name="connsiteX85" fmla="*/ 374726 w 5734864"/>
              <a:gd name="connsiteY85" fmla="*/ 3381364 h 6858000"/>
              <a:gd name="connsiteX86" fmla="*/ 369145 w 5734864"/>
              <a:gd name="connsiteY86" fmla="*/ 3383729 h 6858000"/>
              <a:gd name="connsiteX87" fmla="*/ 364294 w 5734864"/>
              <a:gd name="connsiteY87" fmla="*/ 3414159 h 6858000"/>
              <a:gd name="connsiteX88" fmla="*/ 366450 w 5734864"/>
              <a:gd name="connsiteY88" fmla="*/ 3436925 h 6858000"/>
              <a:gd name="connsiteX89" fmla="*/ 351743 w 5734864"/>
              <a:gd name="connsiteY89" fmla="*/ 3521619 h 6858000"/>
              <a:gd name="connsiteX90" fmla="*/ 345784 w 5734864"/>
              <a:gd name="connsiteY90" fmla="*/ 3603757 h 6858000"/>
              <a:gd name="connsiteX91" fmla="*/ 344198 w 5734864"/>
              <a:gd name="connsiteY91" fmla="*/ 3652424 h 6858000"/>
              <a:gd name="connsiteX92" fmla="*/ 352450 w 5734864"/>
              <a:gd name="connsiteY92" fmla="*/ 3665222 h 6858000"/>
              <a:gd name="connsiteX93" fmla="*/ 342621 w 5734864"/>
              <a:gd name="connsiteY93" fmla="*/ 3700804 h 6858000"/>
              <a:gd name="connsiteX94" fmla="*/ 341514 w 5734864"/>
              <a:gd name="connsiteY94" fmla="*/ 3734774 h 6858000"/>
              <a:gd name="connsiteX95" fmla="*/ 340607 w 5734864"/>
              <a:gd name="connsiteY95" fmla="*/ 3785153 h 6858000"/>
              <a:gd name="connsiteX96" fmla="*/ 340707 w 5734864"/>
              <a:gd name="connsiteY96" fmla="*/ 3788177 h 6858000"/>
              <a:gd name="connsiteX97" fmla="*/ 340361 w 5734864"/>
              <a:gd name="connsiteY97" fmla="*/ 3798803 h 6858000"/>
              <a:gd name="connsiteX98" fmla="*/ 339642 w 5734864"/>
              <a:gd name="connsiteY98" fmla="*/ 3838750 h 6858000"/>
              <a:gd name="connsiteX99" fmla="*/ 360295 w 5734864"/>
              <a:gd name="connsiteY99" fmla="*/ 4015196 h 6858000"/>
              <a:gd name="connsiteX100" fmla="*/ 339043 w 5734864"/>
              <a:gd name="connsiteY100" fmla="*/ 4052778 h 6858000"/>
              <a:gd name="connsiteX101" fmla="*/ 339343 w 5734864"/>
              <a:gd name="connsiteY101" fmla="*/ 4096257 h 6858000"/>
              <a:gd name="connsiteX102" fmla="*/ 340786 w 5734864"/>
              <a:gd name="connsiteY102" fmla="*/ 4321136 h 6858000"/>
              <a:gd name="connsiteX103" fmla="*/ 343158 w 5734864"/>
              <a:gd name="connsiteY103" fmla="*/ 4429174 h 6858000"/>
              <a:gd name="connsiteX104" fmla="*/ 334599 w 5734864"/>
              <a:gd name="connsiteY104" fmla="*/ 4449938 h 6858000"/>
              <a:gd name="connsiteX105" fmla="*/ 332890 w 5734864"/>
              <a:gd name="connsiteY105" fmla="*/ 4453515 h 6858000"/>
              <a:gd name="connsiteX106" fmla="*/ 331105 w 5734864"/>
              <a:gd name="connsiteY106" fmla="*/ 4467941 h 6858000"/>
              <a:gd name="connsiteX107" fmla="*/ 324289 w 5734864"/>
              <a:gd name="connsiteY107" fmla="*/ 4471861 h 6858000"/>
              <a:gd name="connsiteX108" fmla="*/ 317079 w 5734864"/>
              <a:gd name="connsiteY108" fmla="*/ 4493468 h 6858000"/>
              <a:gd name="connsiteX109" fmla="*/ 315557 w 5734864"/>
              <a:gd name="connsiteY109" fmla="*/ 4520067 h 6858000"/>
              <a:gd name="connsiteX110" fmla="*/ 315240 w 5734864"/>
              <a:gd name="connsiteY110" fmla="*/ 4536872 h 6858000"/>
              <a:gd name="connsiteX111" fmla="*/ 316200 w 5734864"/>
              <a:gd name="connsiteY111" fmla="*/ 4538297 h 6858000"/>
              <a:gd name="connsiteX112" fmla="*/ 317507 w 5734864"/>
              <a:gd name="connsiteY112" fmla="*/ 4547582 h 6858000"/>
              <a:gd name="connsiteX113" fmla="*/ 323078 w 5734864"/>
              <a:gd name="connsiteY113" fmla="*/ 4592102 h 6858000"/>
              <a:gd name="connsiteX114" fmla="*/ 328722 w 5734864"/>
              <a:gd name="connsiteY114" fmla="*/ 4667914 h 6858000"/>
              <a:gd name="connsiteX115" fmla="*/ 335597 w 5734864"/>
              <a:gd name="connsiteY115" fmla="*/ 4695035 h 6858000"/>
              <a:gd name="connsiteX116" fmla="*/ 339485 w 5734864"/>
              <a:gd name="connsiteY116" fmla="*/ 4695979 h 6858000"/>
              <a:gd name="connsiteX117" fmla="*/ 341089 w 5734864"/>
              <a:gd name="connsiteY117" fmla="*/ 4704268 h 6858000"/>
              <a:gd name="connsiteX118" fmla="*/ 342177 w 5734864"/>
              <a:gd name="connsiteY118" fmla="*/ 4706060 h 6858000"/>
              <a:gd name="connsiteX119" fmla="*/ 347751 w 5734864"/>
              <a:gd name="connsiteY119" fmla="*/ 4716754 h 6858000"/>
              <a:gd name="connsiteX120" fmla="*/ 344125 w 5734864"/>
              <a:gd name="connsiteY120" fmla="*/ 4764669 h 6858000"/>
              <a:gd name="connsiteX121" fmla="*/ 340188 w 5734864"/>
              <a:gd name="connsiteY121" fmla="*/ 4779386 h 6858000"/>
              <a:gd name="connsiteX122" fmla="*/ 335146 w 5734864"/>
              <a:gd name="connsiteY122" fmla="*/ 4787491 h 6858000"/>
              <a:gd name="connsiteX123" fmla="*/ 319124 w 5734864"/>
              <a:gd name="connsiteY123" fmla="*/ 4843514 h 6858000"/>
              <a:gd name="connsiteX124" fmla="*/ 305956 w 5734864"/>
              <a:gd name="connsiteY124" fmla="*/ 4881505 h 6858000"/>
              <a:gd name="connsiteX125" fmla="*/ 301062 w 5734864"/>
              <a:gd name="connsiteY125" fmla="*/ 4889332 h 6858000"/>
              <a:gd name="connsiteX126" fmla="*/ 302141 w 5734864"/>
              <a:gd name="connsiteY126" fmla="*/ 4899400 h 6858000"/>
              <a:gd name="connsiteX127" fmla="*/ 304424 w 5734864"/>
              <a:gd name="connsiteY127" fmla="*/ 4902664 h 6858000"/>
              <a:gd name="connsiteX128" fmla="*/ 293123 w 5734864"/>
              <a:gd name="connsiteY128" fmla="*/ 4932769 h 6858000"/>
              <a:gd name="connsiteX129" fmla="*/ 292275 w 5734864"/>
              <a:gd name="connsiteY129" fmla="*/ 4936482 h 6858000"/>
              <a:gd name="connsiteX130" fmla="*/ 288304 w 5734864"/>
              <a:gd name="connsiteY130" fmla="*/ 4962325 h 6858000"/>
              <a:gd name="connsiteX131" fmla="*/ 287420 w 5734864"/>
              <a:gd name="connsiteY131" fmla="*/ 5042193 h 6858000"/>
              <a:gd name="connsiteX132" fmla="*/ 287020 w 5734864"/>
              <a:gd name="connsiteY132" fmla="*/ 5065655 h 6858000"/>
              <a:gd name="connsiteX133" fmla="*/ 288488 w 5734864"/>
              <a:gd name="connsiteY133" fmla="*/ 5082216 h 6858000"/>
              <a:gd name="connsiteX134" fmla="*/ 282763 w 5734864"/>
              <a:gd name="connsiteY134" fmla="*/ 5127114 h 6858000"/>
              <a:gd name="connsiteX135" fmla="*/ 269316 w 5734864"/>
              <a:gd name="connsiteY135" fmla="*/ 5202682 h 6858000"/>
              <a:gd name="connsiteX136" fmla="*/ 269174 w 5734864"/>
              <a:gd name="connsiteY136" fmla="*/ 5230835 h 6858000"/>
              <a:gd name="connsiteX137" fmla="*/ 272679 w 5734864"/>
              <a:gd name="connsiteY137" fmla="*/ 5232660 h 6858000"/>
              <a:gd name="connsiteX138" fmla="*/ 272160 w 5734864"/>
              <a:gd name="connsiteY138" fmla="*/ 5241150 h 6858000"/>
              <a:gd name="connsiteX139" fmla="*/ 272760 w 5734864"/>
              <a:gd name="connsiteY139" fmla="*/ 5243156 h 6858000"/>
              <a:gd name="connsiteX140" fmla="*/ 275462 w 5734864"/>
              <a:gd name="connsiteY140" fmla="*/ 5254919 h 6858000"/>
              <a:gd name="connsiteX141" fmla="*/ 262897 w 5734864"/>
              <a:gd name="connsiteY141" fmla="*/ 5286259 h 6858000"/>
              <a:gd name="connsiteX142" fmla="*/ 252761 w 5734864"/>
              <a:gd name="connsiteY142" fmla="*/ 5357801 h 6858000"/>
              <a:gd name="connsiteX143" fmla="*/ 242360 w 5734864"/>
              <a:gd name="connsiteY143" fmla="*/ 5460080 h 6858000"/>
              <a:gd name="connsiteX144" fmla="*/ 229880 w 5734864"/>
              <a:gd name="connsiteY144" fmla="*/ 5539714 h 6858000"/>
              <a:gd name="connsiteX145" fmla="*/ 204283 w 5734864"/>
              <a:gd name="connsiteY145" fmla="*/ 5639080 h 6858000"/>
              <a:gd name="connsiteX146" fmla="*/ 198948 w 5734864"/>
              <a:gd name="connsiteY146" fmla="*/ 5710958 h 6858000"/>
              <a:gd name="connsiteX147" fmla="*/ 192367 w 5734864"/>
              <a:gd name="connsiteY147" fmla="*/ 5719859 h 6858000"/>
              <a:gd name="connsiteX148" fmla="*/ 188035 w 5734864"/>
              <a:gd name="connsiteY148" fmla="*/ 5729935 h 6858000"/>
              <a:gd name="connsiteX149" fmla="*/ 188428 w 5734864"/>
              <a:gd name="connsiteY149" fmla="*/ 5731182 h 6858000"/>
              <a:gd name="connsiteX150" fmla="*/ 181635 w 5734864"/>
              <a:gd name="connsiteY150" fmla="*/ 5753538 h 6858000"/>
              <a:gd name="connsiteX151" fmla="*/ 169744 w 5734864"/>
              <a:gd name="connsiteY151" fmla="*/ 5796307 h 6858000"/>
              <a:gd name="connsiteX152" fmla="*/ 170351 w 5734864"/>
              <a:gd name="connsiteY152" fmla="*/ 5796644 h 6858000"/>
              <a:gd name="connsiteX153" fmla="*/ 171559 w 5734864"/>
              <a:gd name="connsiteY153" fmla="*/ 5803435 h 6858000"/>
              <a:gd name="connsiteX154" fmla="*/ 172284 w 5734864"/>
              <a:gd name="connsiteY154" fmla="*/ 5816391 h 6858000"/>
              <a:gd name="connsiteX155" fmla="*/ 182542 w 5734864"/>
              <a:gd name="connsiteY155" fmla="*/ 5846382 h 6858000"/>
              <a:gd name="connsiteX156" fmla="*/ 175877 w 5734864"/>
              <a:gd name="connsiteY156" fmla="*/ 5871336 h 6858000"/>
              <a:gd name="connsiteX157" fmla="*/ 174910 w 5734864"/>
              <a:gd name="connsiteY157" fmla="*/ 5876376 h 6858000"/>
              <a:gd name="connsiteX158" fmla="*/ 175047 w 5734864"/>
              <a:gd name="connsiteY158" fmla="*/ 5876483 h 6858000"/>
              <a:gd name="connsiteX159" fmla="*/ 174335 w 5734864"/>
              <a:gd name="connsiteY159" fmla="*/ 5881814 h 6858000"/>
              <a:gd name="connsiteX160" fmla="*/ 171273 w 5734864"/>
              <a:gd name="connsiteY160" fmla="*/ 5895339 h 6858000"/>
              <a:gd name="connsiteX161" fmla="*/ 171658 w 5734864"/>
              <a:gd name="connsiteY161" fmla="*/ 5898749 h 6858000"/>
              <a:gd name="connsiteX162" fmla="*/ 174658 w 5734864"/>
              <a:gd name="connsiteY162" fmla="*/ 5919558 h 6858000"/>
              <a:gd name="connsiteX163" fmla="*/ 169099 w 5734864"/>
              <a:gd name="connsiteY163" fmla="*/ 5984417 h 6858000"/>
              <a:gd name="connsiteX164" fmla="*/ 162007 w 5734864"/>
              <a:gd name="connsiteY164" fmla="*/ 6049043 h 6858000"/>
              <a:gd name="connsiteX165" fmla="*/ 156875 w 5734864"/>
              <a:gd name="connsiteY165" fmla="*/ 6114000 h 6858000"/>
              <a:gd name="connsiteX166" fmla="*/ 165441 w 5734864"/>
              <a:gd name="connsiteY166" fmla="*/ 6146938 h 6858000"/>
              <a:gd name="connsiteX167" fmla="*/ 165177 w 5734864"/>
              <a:gd name="connsiteY167" fmla="*/ 6150658 h 6858000"/>
              <a:gd name="connsiteX168" fmla="*/ 161772 w 5734864"/>
              <a:gd name="connsiteY168" fmla="*/ 6160011 h 6858000"/>
              <a:gd name="connsiteX169" fmla="*/ 160051 w 5734864"/>
              <a:gd name="connsiteY169" fmla="*/ 6163393 h 6858000"/>
              <a:gd name="connsiteX170" fmla="*/ 158473 w 5734864"/>
              <a:gd name="connsiteY170" fmla="*/ 6168628 h 6858000"/>
              <a:gd name="connsiteX171" fmla="*/ 158573 w 5734864"/>
              <a:gd name="connsiteY171" fmla="*/ 6168799 h 6858000"/>
              <a:gd name="connsiteX172" fmla="*/ 146463 w 5734864"/>
              <a:gd name="connsiteY172" fmla="*/ 6196671 h 6858000"/>
              <a:gd name="connsiteX173" fmla="*/ 150209 w 5734864"/>
              <a:gd name="connsiteY173" fmla="*/ 6232365 h 6858000"/>
              <a:gd name="connsiteX174" fmla="*/ 148544 w 5734864"/>
              <a:gd name="connsiteY174" fmla="*/ 6246162 h 6858000"/>
              <a:gd name="connsiteX175" fmla="*/ 148403 w 5734864"/>
              <a:gd name="connsiteY175" fmla="*/ 6253754 h 6858000"/>
              <a:gd name="connsiteX176" fmla="*/ 138880 w 5734864"/>
              <a:gd name="connsiteY176" fmla="*/ 6276449 h 6858000"/>
              <a:gd name="connsiteX177" fmla="*/ 138683 w 5734864"/>
              <a:gd name="connsiteY177" fmla="*/ 6279721 h 6858000"/>
              <a:gd name="connsiteX178" fmla="*/ 130721 w 5734864"/>
              <a:gd name="connsiteY178" fmla="*/ 6293675 h 6858000"/>
              <a:gd name="connsiteX179" fmla="*/ 120717 w 5734864"/>
              <a:gd name="connsiteY179" fmla="*/ 6313967 h 6858000"/>
              <a:gd name="connsiteX180" fmla="*/ 120841 w 5734864"/>
              <a:gd name="connsiteY180" fmla="*/ 6315437 h 6858000"/>
              <a:gd name="connsiteX181" fmla="*/ 115208 w 5734864"/>
              <a:gd name="connsiteY181" fmla="*/ 6324024 h 6858000"/>
              <a:gd name="connsiteX182" fmla="*/ 101217 w 5734864"/>
              <a:gd name="connsiteY182" fmla="*/ 6365923 h 6858000"/>
              <a:gd name="connsiteX183" fmla="*/ 74946 w 5734864"/>
              <a:gd name="connsiteY183" fmla="*/ 6556817 h 6858000"/>
              <a:gd name="connsiteX184" fmla="*/ 16001 w 5734864"/>
              <a:gd name="connsiteY184" fmla="*/ 6808678 h 6858000"/>
              <a:gd name="connsiteX185" fmla="*/ 0 w 5734864"/>
              <a:gd name="connsiteY185" fmla="*/ 6858000 h 6858000"/>
              <a:gd name="connsiteX186" fmla="*/ 5734864 w 5734864"/>
              <a:gd name="connsiteY186" fmla="*/ 6858000 h 6858000"/>
              <a:gd name="connsiteX187" fmla="*/ 5734864 w 5734864"/>
              <a:gd name="connsiteY18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</a:cxnLst>
            <a:rect l="l" t="t" r="r" b="b"/>
            <a:pathLst>
              <a:path w="5734864" h="6858000">
                <a:moveTo>
                  <a:pt x="5734864" y="0"/>
                </a:moveTo>
                <a:lnTo>
                  <a:pt x="771611" y="0"/>
                </a:lnTo>
                <a:cubicBezTo>
                  <a:pt x="771634" y="16369"/>
                  <a:pt x="771656" y="32739"/>
                  <a:pt x="771679" y="49108"/>
                </a:cubicBezTo>
                <a:cubicBezTo>
                  <a:pt x="775201" y="55622"/>
                  <a:pt x="788724" y="196721"/>
                  <a:pt x="794248" y="200968"/>
                </a:cubicBezTo>
                <a:lnTo>
                  <a:pt x="801749" y="414071"/>
                </a:lnTo>
                <a:cubicBezTo>
                  <a:pt x="807329" y="440933"/>
                  <a:pt x="835107" y="598697"/>
                  <a:pt x="818548" y="585467"/>
                </a:cubicBezTo>
                <a:cubicBezTo>
                  <a:pt x="856197" y="664140"/>
                  <a:pt x="837895" y="708473"/>
                  <a:pt x="857476" y="800623"/>
                </a:cubicBezTo>
                <a:cubicBezTo>
                  <a:pt x="822401" y="857344"/>
                  <a:pt x="855723" y="824571"/>
                  <a:pt x="851083" y="878903"/>
                </a:cubicBezTo>
                <a:cubicBezTo>
                  <a:pt x="884811" y="859448"/>
                  <a:pt x="834648" y="946397"/>
                  <a:pt x="873564" y="943826"/>
                </a:cubicBezTo>
                <a:cubicBezTo>
                  <a:pt x="871487" y="953795"/>
                  <a:pt x="868248" y="963533"/>
                  <a:pt x="864705" y="973328"/>
                </a:cubicBezTo>
                <a:lnTo>
                  <a:pt x="862869" y="978457"/>
                </a:lnTo>
                <a:lnTo>
                  <a:pt x="862233" y="998041"/>
                </a:lnTo>
                <a:lnTo>
                  <a:pt x="853665" y="1004750"/>
                </a:lnTo>
                <a:lnTo>
                  <a:pt x="847865" y="1070795"/>
                </a:lnTo>
                <a:cubicBezTo>
                  <a:pt x="870234" y="1110486"/>
                  <a:pt x="833172" y="1190441"/>
                  <a:pt x="862786" y="1238994"/>
                </a:cubicBezTo>
                <a:cubicBezTo>
                  <a:pt x="864699" y="1290599"/>
                  <a:pt x="860615" y="1347716"/>
                  <a:pt x="859345" y="1380427"/>
                </a:cubicBezTo>
                <a:cubicBezTo>
                  <a:pt x="845703" y="1396391"/>
                  <a:pt x="873184" y="1435525"/>
                  <a:pt x="855172" y="1435262"/>
                </a:cubicBezTo>
                <a:lnTo>
                  <a:pt x="860494" y="1453861"/>
                </a:lnTo>
                <a:lnTo>
                  <a:pt x="853731" y="1467047"/>
                </a:lnTo>
                <a:cubicBezTo>
                  <a:pt x="846549" y="1480528"/>
                  <a:pt x="841728" y="1491093"/>
                  <a:pt x="845847" y="1502307"/>
                </a:cubicBezTo>
                <a:lnTo>
                  <a:pt x="817613" y="1565166"/>
                </a:lnTo>
                <a:cubicBezTo>
                  <a:pt x="805468" y="1557258"/>
                  <a:pt x="816534" y="1596564"/>
                  <a:pt x="804223" y="1601941"/>
                </a:cubicBezTo>
                <a:cubicBezTo>
                  <a:pt x="794287" y="1604654"/>
                  <a:pt x="795328" y="1617209"/>
                  <a:pt x="791773" y="1627005"/>
                </a:cubicBezTo>
                <a:cubicBezTo>
                  <a:pt x="781684" y="1634393"/>
                  <a:pt x="772978" y="1683187"/>
                  <a:pt x="774645" y="1699922"/>
                </a:cubicBezTo>
                <a:cubicBezTo>
                  <a:pt x="785341" y="1746767"/>
                  <a:pt x="744845" y="1787099"/>
                  <a:pt x="752343" y="1824604"/>
                </a:cubicBezTo>
                <a:cubicBezTo>
                  <a:pt x="751502" y="1834578"/>
                  <a:pt x="749297" y="1842929"/>
                  <a:pt x="746254" y="1850222"/>
                </a:cubicBezTo>
                <a:lnTo>
                  <a:pt x="728600" y="1869603"/>
                </a:lnTo>
                <a:lnTo>
                  <a:pt x="724396" y="1883104"/>
                </a:lnTo>
                <a:lnTo>
                  <a:pt x="722165" y="1885924"/>
                </a:lnTo>
                <a:lnTo>
                  <a:pt x="721338" y="1887123"/>
                </a:lnTo>
                <a:lnTo>
                  <a:pt x="714840" y="1902274"/>
                </a:lnTo>
                <a:lnTo>
                  <a:pt x="722847" y="1929891"/>
                </a:lnTo>
                <a:lnTo>
                  <a:pt x="714660" y="1982709"/>
                </a:lnTo>
                <a:cubicBezTo>
                  <a:pt x="727725" y="2006201"/>
                  <a:pt x="714739" y="1997091"/>
                  <a:pt x="710759" y="2013010"/>
                </a:cubicBezTo>
                <a:cubicBezTo>
                  <a:pt x="707970" y="2027531"/>
                  <a:pt x="700788" y="2054714"/>
                  <a:pt x="697927" y="2069833"/>
                </a:cubicBezTo>
                <a:cubicBezTo>
                  <a:pt x="685211" y="2080229"/>
                  <a:pt x="698762" y="2088241"/>
                  <a:pt x="693594" y="2103731"/>
                </a:cubicBezTo>
                <a:cubicBezTo>
                  <a:pt x="688481" y="2110649"/>
                  <a:pt x="687183" y="2115973"/>
                  <a:pt x="691109" y="2124027"/>
                </a:cubicBezTo>
                <a:cubicBezTo>
                  <a:pt x="666413" y="2155740"/>
                  <a:pt x="688031" y="2144874"/>
                  <a:pt x="676593" y="2176182"/>
                </a:cubicBezTo>
                <a:cubicBezTo>
                  <a:pt x="665190" y="2202944"/>
                  <a:pt x="656416" y="2233857"/>
                  <a:pt x="633227" y="2258036"/>
                </a:cubicBezTo>
                <a:cubicBezTo>
                  <a:pt x="626930" y="2262191"/>
                  <a:pt x="623498" y="2274069"/>
                  <a:pt x="625564" y="2284567"/>
                </a:cubicBezTo>
                <a:cubicBezTo>
                  <a:pt x="625918" y="2286374"/>
                  <a:pt x="626427" y="2288071"/>
                  <a:pt x="627074" y="2289605"/>
                </a:cubicBezTo>
                <a:cubicBezTo>
                  <a:pt x="619029" y="2296628"/>
                  <a:pt x="616453" y="2303188"/>
                  <a:pt x="614574" y="2308717"/>
                </a:cubicBezTo>
                <a:lnTo>
                  <a:pt x="606890" y="2320662"/>
                </a:lnTo>
                <a:lnTo>
                  <a:pt x="605558" y="2327897"/>
                </a:lnTo>
                <a:lnTo>
                  <a:pt x="602202" y="2357749"/>
                </a:lnTo>
                <a:lnTo>
                  <a:pt x="600213" y="2364905"/>
                </a:lnTo>
                <a:lnTo>
                  <a:pt x="597160" y="2388351"/>
                </a:lnTo>
                <a:lnTo>
                  <a:pt x="597982" y="2402296"/>
                </a:lnTo>
                <a:lnTo>
                  <a:pt x="593150" y="2420015"/>
                </a:lnTo>
                <a:cubicBezTo>
                  <a:pt x="593044" y="2420926"/>
                  <a:pt x="592939" y="2421838"/>
                  <a:pt x="592833" y="2422749"/>
                </a:cubicBezTo>
                <a:lnTo>
                  <a:pt x="594479" y="2426002"/>
                </a:lnTo>
                <a:cubicBezTo>
                  <a:pt x="594168" y="2427683"/>
                  <a:pt x="593118" y="2429721"/>
                  <a:pt x="591963" y="2431950"/>
                </a:cubicBezTo>
                <a:cubicBezTo>
                  <a:pt x="591823" y="2432599"/>
                  <a:pt x="591684" y="2433248"/>
                  <a:pt x="591544" y="2433897"/>
                </a:cubicBezTo>
                <a:lnTo>
                  <a:pt x="589519" y="2451398"/>
                </a:lnTo>
                <a:cubicBezTo>
                  <a:pt x="589692" y="2452777"/>
                  <a:pt x="589864" y="2454157"/>
                  <a:pt x="590037" y="2455536"/>
                </a:cubicBezTo>
                <a:lnTo>
                  <a:pt x="588179" y="2462981"/>
                </a:lnTo>
                <a:lnTo>
                  <a:pt x="583434" y="2503991"/>
                </a:lnTo>
                <a:cubicBezTo>
                  <a:pt x="576530" y="2566058"/>
                  <a:pt x="570433" y="2625224"/>
                  <a:pt x="567942" y="2652936"/>
                </a:cubicBezTo>
                <a:cubicBezTo>
                  <a:pt x="570864" y="2658290"/>
                  <a:pt x="572739" y="2664095"/>
                  <a:pt x="573869" y="2670188"/>
                </a:cubicBezTo>
                <a:lnTo>
                  <a:pt x="575243" y="2688114"/>
                </a:lnTo>
                <a:lnTo>
                  <a:pt x="573824" y="2689856"/>
                </a:lnTo>
                <a:cubicBezTo>
                  <a:pt x="569972" y="2698471"/>
                  <a:pt x="569572" y="2704494"/>
                  <a:pt x="570699" y="2709353"/>
                </a:cubicBezTo>
                <a:lnTo>
                  <a:pt x="573192" y="2714527"/>
                </a:lnTo>
                <a:cubicBezTo>
                  <a:pt x="572809" y="2719080"/>
                  <a:pt x="572427" y="2723634"/>
                  <a:pt x="572044" y="2728187"/>
                </a:cubicBezTo>
                <a:cubicBezTo>
                  <a:pt x="572184" y="2737412"/>
                  <a:pt x="572325" y="2746638"/>
                  <a:pt x="572465" y="2755863"/>
                </a:cubicBezTo>
                <a:lnTo>
                  <a:pt x="570028" y="2760324"/>
                </a:lnTo>
                <a:lnTo>
                  <a:pt x="566748" y="2800948"/>
                </a:lnTo>
                <a:lnTo>
                  <a:pt x="565509" y="2801167"/>
                </a:lnTo>
                <a:cubicBezTo>
                  <a:pt x="562655" y="2802587"/>
                  <a:pt x="560408" y="2805381"/>
                  <a:pt x="559367" y="2811129"/>
                </a:cubicBezTo>
                <a:cubicBezTo>
                  <a:pt x="543471" y="2797318"/>
                  <a:pt x="552020" y="2812773"/>
                  <a:pt x="550354" y="2830949"/>
                </a:cubicBezTo>
                <a:cubicBezTo>
                  <a:pt x="525292" y="2813553"/>
                  <a:pt x="531129" y="2868192"/>
                  <a:pt x="514795" y="2872433"/>
                </a:cubicBezTo>
                <a:lnTo>
                  <a:pt x="509875" y="2923099"/>
                </a:lnTo>
                <a:lnTo>
                  <a:pt x="509577" y="2923197"/>
                </a:lnTo>
                <a:cubicBezTo>
                  <a:pt x="508704" y="2924865"/>
                  <a:pt x="508038" y="2927556"/>
                  <a:pt x="507597" y="2931868"/>
                </a:cubicBezTo>
                <a:cubicBezTo>
                  <a:pt x="507524" y="2934019"/>
                  <a:pt x="507452" y="2936171"/>
                  <a:pt x="507379" y="2938322"/>
                </a:cubicBezTo>
                <a:lnTo>
                  <a:pt x="504725" y="2954519"/>
                </a:lnTo>
                <a:lnTo>
                  <a:pt x="502018" y="2959643"/>
                </a:lnTo>
                <a:lnTo>
                  <a:pt x="498360" y="2961019"/>
                </a:lnTo>
                <a:lnTo>
                  <a:pt x="498483" y="2962590"/>
                </a:lnTo>
                <a:cubicBezTo>
                  <a:pt x="502388" y="2975027"/>
                  <a:pt x="510202" y="2980016"/>
                  <a:pt x="484403" y="2990538"/>
                </a:cubicBezTo>
                <a:cubicBezTo>
                  <a:pt x="489425" y="3018352"/>
                  <a:pt x="474337" y="3021029"/>
                  <a:pt x="463075" y="3055956"/>
                </a:cubicBezTo>
                <a:cubicBezTo>
                  <a:pt x="469487" y="3072485"/>
                  <a:pt x="464165" y="3083955"/>
                  <a:pt x="455013" y="3094482"/>
                </a:cubicBezTo>
                <a:cubicBezTo>
                  <a:pt x="453131" y="3130054"/>
                  <a:pt x="437643" y="3160106"/>
                  <a:pt x="428391" y="3198850"/>
                </a:cubicBezTo>
                <a:lnTo>
                  <a:pt x="401440" y="3307560"/>
                </a:lnTo>
                <a:lnTo>
                  <a:pt x="386076" y="3373943"/>
                </a:lnTo>
                <a:cubicBezTo>
                  <a:pt x="386236" y="3376061"/>
                  <a:pt x="380537" y="3378856"/>
                  <a:pt x="374726" y="3381364"/>
                </a:cubicBezTo>
                <a:lnTo>
                  <a:pt x="369145" y="3383729"/>
                </a:lnTo>
                <a:lnTo>
                  <a:pt x="364294" y="3414159"/>
                </a:lnTo>
                <a:lnTo>
                  <a:pt x="366450" y="3436925"/>
                </a:lnTo>
                <a:lnTo>
                  <a:pt x="351743" y="3521619"/>
                </a:lnTo>
                <a:lnTo>
                  <a:pt x="345784" y="3603757"/>
                </a:lnTo>
                <a:cubicBezTo>
                  <a:pt x="345255" y="3619979"/>
                  <a:pt x="344727" y="3636202"/>
                  <a:pt x="344198" y="3652424"/>
                </a:cubicBezTo>
                <a:lnTo>
                  <a:pt x="352450" y="3665222"/>
                </a:lnTo>
                <a:lnTo>
                  <a:pt x="342621" y="3700804"/>
                </a:lnTo>
                <a:lnTo>
                  <a:pt x="341514" y="3734774"/>
                </a:lnTo>
                <a:cubicBezTo>
                  <a:pt x="341212" y="3751567"/>
                  <a:pt x="340909" y="3768360"/>
                  <a:pt x="340607" y="3785153"/>
                </a:cubicBezTo>
                <a:cubicBezTo>
                  <a:pt x="340640" y="3786161"/>
                  <a:pt x="340674" y="3787169"/>
                  <a:pt x="340707" y="3788177"/>
                </a:cubicBezTo>
                <a:cubicBezTo>
                  <a:pt x="340592" y="3791719"/>
                  <a:pt x="340476" y="3795261"/>
                  <a:pt x="340361" y="3798803"/>
                </a:cubicBezTo>
                <a:cubicBezTo>
                  <a:pt x="340121" y="3812119"/>
                  <a:pt x="339882" y="3825434"/>
                  <a:pt x="339642" y="3838750"/>
                </a:cubicBezTo>
                <a:cubicBezTo>
                  <a:pt x="337363" y="3949044"/>
                  <a:pt x="361794" y="3960437"/>
                  <a:pt x="360295" y="4015196"/>
                </a:cubicBezTo>
                <a:lnTo>
                  <a:pt x="339043" y="4052778"/>
                </a:lnTo>
                <a:lnTo>
                  <a:pt x="339343" y="4096257"/>
                </a:lnTo>
                <a:cubicBezTo>
                  <a:pt x="362058" y="4159145"/>
                  <a:pt x="332404" y="4250479"/>
                  <a:pt x="340786" y="4321136"/>
                </a:cubicBezTo>
                <a:cubicBezTo>
                  <a:pt x="341421" y="4376624"/>
                  <a:pt x="344189" y="4407708"/>
                  <a:pt x="343158" y="4429174"/>
                </a:cubicBezTo>
                <a:cubicBezTo>
                  <a:pt x="340948" y="4436304"/>
                  <a:pt x="337887" y="4443121"/>
                  <a:pt x="334599" y="4449938"/>
                </a:cubicBezTo>
                <a:lnTo>
                  <a:pt x="332890" y="4453515"/>
                </a:lnTo>
                <a:lnTo>
                  <a:pt x="331105" y="4467941"/>
                </a:lnTo>
                <a:lnTo>
                  <a:pt x="324289" y="4471861"/>
                </a:lnTo>
                <a:lnTo>
                  <a:pt x="317079" y="4493468"/>
                </a:lnTo>
                <a:cubicBezTo>
                  <a:pt x="315353" y="4501584"/>
                  <a:pt x="314639" y="4510343"/>
                  <a:pt x="315557" y="4520067"/>
                </a:cubicBezTo>
                <a:cubicBezTo>
                  <a:pt x="315451" y="4525669"/>
                  <a:pt x="315346" y="4531270"/>
                  <a:pt x="315240" y="4536872"/>
                </a:cubicBezTo>
                <a:lnTo>
                  <a:pt x="316200" y="4538297"/>
                </a:lnTo>
                <a:cubicBezTo>
                  <a:pt x="316738" y="4541182"/>
                  <a:pt x="316785" y="4544563"/>
                  <a:pt x="317507" y="4547582"/>
                </a:cubicBezTo>
                <a:cubicBezTo>
                  <a:pt x="322716" y="4552468"/>
                  <a:pt x="324912" y="4582137"/>
                  <a:pt x="323078" y="4592102"/>
                </a:cubicBezTo>
                <a:cubicBezTo>
                  <a:pt x="314597" y="4619728"/>
                  <a:pt x="334923" y="4645745"/>
                  <a:pt x="328722" y="4667914"/>
                </a:cubicBezTo>
                <a:cubicBezTo>
                  <a:pt x="330810" y="4685069"/>
                  <a:pt x="333803" y="4690356"/>
                  <a:pt x="335597" y="4695035"/>
                </a:cubicBezTo>
                <a:lnTo>
                  <a:pt x="339485" y="4695979"/>
                </a:lnTo>
                <a:lnTo>
                  <a:pt x="341089" y="4704268"/>
                </a:lnTo>
                <a:lnTo>
                  <a:pt x="342177" y="4706060"/>
                </a:lnTo>
                <a:cubicBezTo>
                  <a:pt x="344268" y="4709474"/>
                  <a:pt x="346234" y="4712931"/>
                  <a:pt x="347751" y="4716754"/>
                </a:cubicBezTo>
                <a:lnTo>
                  <a:pt x="344125" y="4764669"/>
                </a:lnTo>
                <a:lnTo>
                  <a:pt x="340188" y="4779386"/>
                </a:lnTo>
                <a:lnTo>
                  <a:pt x="335146" y="4787491"/>
                </a:lnTo>
                <a:lnTo>
                  <a:pt x="319124" y="4843514"/>
                </a:lnTo>
                <a:lnTo>
                  <a:pt x="305956" y="4881505"/>
                </a:lnTo>
                <a:lnTo>
                  <a:pt x="301062" y="4889332"/>
                </a:lnTo>
                <a:lnTo>
                  <a:pt x="302141" y="4899400"/>
                </a:lnTo>
                <a:cubicBezTo>
                  <a:pt x="302767" y="4900706"/>
                  <a:pt x="303536" y="4901803"/>
                  <a:pt x="304424" y="4902664"/>
                </a:cubicBezTo>
                <a:lnTo>
                  <a:pt x="293123" y="4932769"/>
                </a:lnTo>
                <a:lnTo>
                  <a:pt x="292275" y="4936482"/>
                </a:lnTo>
                <a:lnTo>
                  <a:pt x="288304" y="4962325"/>
                </a:lnTo>
                <a:cubicBezTo>
                  <a:pt x="288009" y="4988948"/>
                  <a:pt x="287715" y="5015570"/>
                  <a:pt x="287420" y="5042193"/>
                </a:cubicBezTo>
                <a:cubicBezTo>
                  <a:pt x="295373" y="5039737"/>
                  <a:pt x="281659" y="5060438"/>
                  <a:pt x="287020" y="5065655"/>
                </a:cubicBezTo>
                <a:cubicBezTo>
                  <a:pt x="291675" y="5068928"/>
                  <a:pt x="288601" y="5075970"/>
                  <a:pt x="288488" y="5082216"/>
                </a:cubicBezTo>
                <a:cubicBezTo>
                  <a:pt x="292282" y="5088207"/>
                  <a:pt x="287008" y="5117775"/>
                  <a:pt x="282763" y="5127114"/>
                </a:cubicBezTo>
                <a:cubicBezTo>
                  <a:pt x="267723" y="5152218"/>
                  <a:pt x="280799" y="5182399"/>
                  <a:pt x="269316" y="5202682"/>
                </a:cubicBezTo>
                <a:cubicBezTo>
                  <a:pt x="267050" y="5219969"/>
                  <a:pt x="268614" y="5225841"/>
                  <a:pt x="269174" y="5230835"/>
                </a:cubicBezTo>
                <a:lnTo>
                  <a:pt x="272679" y="5232660"/>
                </a:lnTo>
                <a:lnTo>
                  <a:pt x="272160" y="5241150"/>
                </a:lnTo>
                <a:lnTo>
                  <a:pt x="272760" y="5243156"/>
                </a:lnTo>
                <a:cubicBezTo>
                  <a:pt x="273922" y="5246984"/>
                  <a:pt x="274952" y="5250824"/>
                  <a:pt x="275462" y="5254919"/>
                </a:cubicBezTo>
                <a:cubicBezTo>
                  <a:pt x="258407" y="5258851"/>
                  <a:pt x="276976" y="5290392"/>
                  <a:pt x="262897" y="5286259"/>
                </a:cubicBezTo>
                <a:cubicBezTo>
                  <a:pt x="262724" y="5309439"/>
                  <a:pt x="239612" y="5337531"/>
                  <a:pt x="252761" y="5357801"/>
                </a:cubicBezTo>
                <a:cubicBezTo>
                  <a:pt x="248775" y="5392256"/>
                  <a:pt x="247799" y="5423412"/>
                  <a:pt x="242360" y="5460080"/>
                </a:cubicBezTo>
                <a:cubicBezTo>
                  <a:pt x="232632" y="5488478"/>
                  <a:pt x="242025" y="5519143"/>
                  <a:pt x="229880" y="5539714"/>
                </a:cubicBezTo>
                <a:cubicBezTo>
                  <a:pt x="230558" y="5572454"/>
                  <a:pt x="222150" y="5613340"/>
                  <a:pt x="204283" y="5639080"/>
                </a:cubicBezTo>
                <a:cubicBezTo>
                  <a:pt x="201596" y="5674226"/>
                  <a:pt x="191051" y="5680198"/>
                  <a:pt x="198948" y="5710958"/>
                </a:cubicBezTo>
                <a:cubicBezTo>
                  <a:pt x="196338" y="5713534"/>
                  <a:pt x="194185" y="5716550"/>
                  <a:pt x="192367" y="5719859"/>
                </a:cubicBezTo>
                <a:lnTo>
                  <a:pt x="188035" y="5729935"/>
                </a:lnTo>
                <a:lnTo>
                  <a:pt x="188428" y="5731182"/>
                </a:lnTo>
                <a:lnTo>
                  <a:pt x="181635" y="5753538"/>
                </a:lnTo>
                <a:lnTo>
                  <a:pt x="169744" y="5796307"/>
                </a:lnTo>
                <a:lnTo>
                  <a:pt x="170351" y="5796644"/>
                </a:lnTo>
                <a:cubicBezTo>
                  <a:pt x="171558" y="5797954"/>
                  <a:pt x="172173" y="5799948"/>
                  <a:pt x="171559" y="5803435"/>
                </a:cubicBezTo>
                <a:cubicBezTo>
                  <a:pt x="182664" y="5798231"/>
                  <a:pt x="175075" y="5805646"/>
                  <a:pt x="172284" y="5816391"/>
                </a:cubicBezTo>
                <a:cubicBezTo>
                  <a:pt x="188911" y="5810703"/>
                  <a:pt x="174844" y="5841128"/>
                  <a:pt x="182542" y="5846382"/>
                </a:cubicBezTo>
                <a:cubicBezTo>
                  <a:pt x="180118" y="5854404"/>
                  <a:pt x="177856" y="5862781"/>
                  <a:pt x="175877" y="5871336"/>
                </a:cubicBezTo>
                <a:lnTo>
                  <a:pt x="174910" y="5876376"/>
                </a:lnTo>
                <a:lnTo>
                  <a:pt x="175047" y="5876483"/>
                </a:lnTo>
                <a:cubicBezTo>
                  <a:pt x="175167" y="5877594"/>
                  <a:pt x="174973" y="5879257"/>
                  <a:pt x="174335" y="5881814"/>
                </a:cubicBezTo>
                <a:lnTo>
                  <a:pt x="171273" y="5895339"/>
                </a:lnTo>
                <a:cubicBezTo>
                  <a:pt x="171401" y="5896476"/>
                  <a:pt x="171530" y="5897612"/>
                  <a:pt x="171658" y="5898749"/>
                </a:cubicBezTo>
                <a:lnTo>
                  <a:pt x="174658" y="5919558"/>
                </a:lnTo>
                <a:cubicBezTo>
                  <a:pt x="173958" y="5933601"/>
                  <a:pt x="171208" y="5962838"/>
                  <a:pt x="169099" y="5984417"/>
                </a:cubicBezTo>
                <a:cubicBezTo>
                  <a:pt x="162916" y="6005205"/>
                  <a:pt x="164971" y="6025162"/>
                  <a:pt x="162007" y="6049043"/>
                </a:cubicBezTo>
                <a:cubicBezTo>
                  <a:pt x="150795" y="6073830"/>
                  <a:pt x="160091" y="6088483"/>
                  <a:pt x="156875" y="6114000"/>
                </a:cubicBezTo>
                <a:cubicBezTo>
                  <a:pt x="141597" y="6134477"/>
                  <a:pt x="163381" y="6133378"/>
                  <a:pt x="165441" y="6146938"/>
                </a:cubicBezTo>
                <a:lnTo>
                  <a:pt x="165177" y="6150658"/>
                </a:lnTo>
                <a:lnTo>
                  <a:pt x="161772" y="6160011"/>
                </a:lnTo>
                <a:lnTo>
                  <a:pt x="160051" y="6163393"/>
                </a:lnTo>
                <a:cubicBezTo>
                  <a:pt x="159032" y="6165775"/>
                  <a:pt x="158564" y="6167421"/>
                  <a:pt x="158473" y="6168628"/>
                </a:cubicBezTo>
                <a:cubicBezTo>
                  <a:pt x="158506" y="6168685"/>
                  <a:pt x="158540" y="6168742"/>
                  <a:pt x="158573" y="6168799"/>
                </a:cubicBezTo>
                <a:lnTo>
                  <a:pt x="146463" y="6196671"/>
                </a:lnTo>
                <a:cubicBezTo>
                  <a:pt x="152348" y="6205503"/>
                  <a:pt x="134460" y="6231012"/>
                  <a:pt x="150209" y="6232365"/>
                </a:cubicBezTo>
                <a:cubicBezTo>
                  <a:pt x="145821" y="6242321"/>
                  <a:pt x="137774" y="6246719"/>
                  <a:pt x="148544" y="6246162"/>
                </a:cubicBezTo>
                <a:cubicBezTo>
                  <a:pt x="147378" y="6249522"/>
                  <a:pt x="147566" y="6251866"/>
                  <a:pt x="148403" y="6253754"/>
                </a:cubicBezTo>
                <a:lnTo>
                  <a:pt x="138880" y="6276449"/>
                </a:lnTo>
                <a:cubicBezTo>
                  <a:pt x="138814" y="6277540"/>
                  <a:pt x="138749" y="6278630"/>
                  <a:pt x="138683" y="6279721"/>
                </a:cubicBezTo>
                <a:lnTo>
                  <a:pt x="130721" y="6293675"/>
                </a:lnTo>
                <a:lnTo>
                  <a:pt x="120717" y="6313967"/>
                </a:lnTo>
                <a:cubicBezTo>
                  <a:pt x="120758" y="6314457"/>
                  <a:pt x="120800" y="6314947"/>
                  <a:pt x="120841" y="6315437"/>
                </a:cubicBezTo>
                <a:lnTo>
                  <a:pt x="115208" y="6324024"/>
                </a:lnTo>
                <a:cubicBezTo>
                  <a:pt x="113007" y="6326672"/>
                  <a:pt x="103991" y="6364381"/>
                  <a:pt x="101217" y="6365923"/>
                </a:cubicBezTo>
                <a:lnTo>
                  <a:pt x="74946" y="6556817"/>
                </a:lnTo>
                <a:cubicBezTo>
                  <a:pt x="55357" y="6665926"/>
                  <a:pt x="35695" y="6744075"/>
                  <a:pt x="16001" y="6808678"/>
                </a:cubicBezTo>
                <a:lnTo>
                  <a:pt x="0" y="6858000"/>
                </a:lnTo>
                <a:lnTo>
                  <a:pt x="5734864" y="6858000"/>
                </a:lnTo>
                <a:lnTo>
                  <a:pt x="5734864" y="0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53C965-EE0D-441D-96BF-AA4BFFC51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685" y="1543079"/>
            <a:ext cx="3616913" cy="279516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</a:pPr>
            <a:r>
              <a:rPr lang="en-US" sz="44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Respectful Care Breakfast Planning Resourc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7C472-B7C4-432B-BE68-86FA372741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09954" y="6309458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C0BED1F-6F67-418F-8281-4E0D17E7419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000">
                <a:solidFill>
                  <a:schemeClr val="tx1">
                    <a:tint val="75000"/>
                  </a:schemeClr>
                </a:solidFill>
              </a:rPr>
              <a:pPr>
                <a:spcAft>
                  <a:spcPts val="600"/>
                </a:spcAft>
              </a:pPr>
              <a:t>25</a:t>
            </a:fld>
            <a:endParaRPr lang="en-US" sz="100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6" name="Picture 6" descr="Text&#10;&#10;Description automatically generated">
            <a:extLst>
              <a:ext uri="{FF2B5EF4-FFF2-40B4-BE49-F238E27FC236}">
                <a16:creationId xmlns:a16="http://schemas.microsoft.com/office/drawing/2014/main" id="{41B853E7-DC83-C695-A9A7-763FA445DA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3273" y="-496"/>
            <a:ext cx="4878946" cy="6858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0204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43AA782-23D1-4521-8CAD-47662984AA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65F772-4602-20E8-F56F-13862200C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936" y="640080"/>
            <a:ext cx="4818888" cy="1481328"/>
          </a:xfrm>
        </p:spPr>
        <p:txBody>
          <a:bodyPr anchor="b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5000">
                <a:ea typeface="Lato Medium"/>
                <a:cs typeface="Lato Medium"/>
              </a:rPr>
              <a:t>Post-Event Survey</a:t>
            </a:r>
            <a:endParaRPr lang="en-US" sz="5000"/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71877DBC-BB60-40F0-AC93-2ACDBAAE60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3278" y="2372868"/>
            <a:ext cx="3255095" cy="18288"/>
          </a:xfrm>
          <a:custGeom>
            <a:avLst/>
            <a:gdLst>
              <a:gd name="connsiteX0" fmla="*/ 0 w 3255095"/>
              <a:gd name="connsiteY0" fmla="*/ 0 h 18288"/>
              <a:gd name="connsiteX1" fmla="*/ 618468 w 3255095"/>
              <a:gd name="connsiteY1" fmla="*/ 0 h 18288"/>
              <a:gd name="connsiteX2" fmla="*/ 1269487 w 3255095"/>
              <a:gd name="connsiteY2" fmla="*/ 0 h 18288"/>
              <a:gd name="connsiteX3" fmla="*/ 1953057 w 3255095"/>
              <a:gd name="connsiteY3" fmla="*/ 0 h 18288"/>
              <a:gd name="connsiteX4" fmla="*/ 2636627 w 3255095"/>
              <a:gd name="connsiteY4" fmla="*/ 0 h 18288"/>
              <a:gd name="connsiteX5" fmla="*/ 3255095 w 3255095"/>
              <a:gd name="connsiteY5" fmla="*/ 0 h 18288"/>
              <a:gd name="connsiteX6" fmla="*/ 3255095 w 3255095"/>
              <a:gd name="connsiteY6" fmla="*/ 18288 h 18288"/>
              <a:gd name="connsiteX7" fmla="*/ 2538974 w 3255095"/>
              <a:gd name="connsiteY7" fmla="*/ 18288 h 18288"/>
              <a:gd name="connsiteX8" fmla="*/ 1822853 w 3255095"/>
              <a:gd name="connsiteY8" fmla="*/ 18288 h 18288"/>
              <a:gd name="connsiteX9" fmla="*/ 1171834 w 3255095"/>
              <a:gd name="connsiteY9" fmla="*/ 18288 h 18288"/>
              <a:gd name="connsiteX10" fmla="*/ 0 w 3255095"/>
              <a:gd name="connsiteY10" fmla="*/ 18288 h 18288"/>
              <a:gd name="connsiteX11" fmla="*/ 0 w 3255095"/>
              <a:gd name="connsiteY11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stroke="0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8BC924-7B8F-B373-2121-7655F38726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0936" y="2660904"/>
            <a:ext cx="4818888" cy="354787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200">
                <a:ea typeface="Lato"/>
                <a:cs typeface="Lato"/>
              </a:rPr>
              <a:t>Key tool in evaluating this effectiveness and acceptability of this strategy for clinical team and community members/ patient partners</a:t>
            </a:r>
            <a:endParaRPr lang="en-US" sz="2200"/>
          </a:p>
          <a:p>
            <a:r>
              <a:rPr lang="en-US" sz="2200">
                <a:ea typeface="Lato"/>
                <a:cs typeface="Lato"/>
              </a:rPr>
              <a:t>Please ask all participants to complete this survey at the end of the event!</a:t>
            </a:r>
          </a:p>
        </p:txBody>
      </p:sp>
      <p:pic>
        <p:nvPicPr>
          <p:cNvPr id="6" name="Picture 6" descr="Qr code&#10;&#10;Description automatically generated">
            <a:extLst>
              <a:ext uri="{FF2B5EF4-FFF2-40B4-BE49-F238E27FC236}">
                <a16:creationId xmlns:a16="http://schemas.microsoft.com/office/drawing/2014/main" id="{59EB8176-6872-DACB-1653-47FEDFE31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83452" y="640080"/>
            <a:ext cx="4490160" cy="5577840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F841AF1-0C99-0B6F-2DC1-B81A03BC4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6181A2B-00DB-E58E-1231-2791B6CF8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5486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A71801-3FA0-4628-A37F-463D60C49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0742" y="128248"/>
            <a:ext cx="10972800" cy="1325563"/>
          </a:xfrm>
        </p:spPr>
        <p:txBody>
          <a:bodyPr/>
          <a:lstStyle/>
          <a:p>
            <a:r>
              <a:rPr lang="en-US" dirty="0"/>
              <a:t>Our ILPQC goal for Patient Engage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8713E7-4A4F-41B9-A4CF-CB75FA955B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8458" y="1398021"/>
            <a:ext cx="10972800" cy="4351338"/>
          </a:xfrm>
        </p:spPr>
        <p:txBody>
          <a:bodyPr/>
          <a:lstStyle/>
          <a:p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Every team to hold a Respectful Care Breakfast </a:t>
            </a:r>
          </a:p>
          <a:p>
            <a:pPr lvl="1"/>
            <a:r>
              <a:rPr lang="en-US" sz="2400" dirty="0"/>
              <a:t>Ask doulas or midwife or lactation counselor to consider patients to invite or ask NICU moms…</a:t>
            </a:r>
          </a:p>
          <a:p>
            <a:pPr lvl="1"/>
            <a:r>
              <a:rPr lang="en-US" sz="2400" dirty="0"/>
              <a:t>Celebrate and talk about Respectful Care and strategies to increase Respectful Care Practices (how can we improve shared decision making, active listening)</a:t>
            </a:r>
          </a:p>
          <a:p>
            <a:pPr lvl="1"/>
            <a:r>
              <a:rPr lang="en-US" sz="2400" dirty="0"/>
              <a:t>Make sure to also invite OB providers / nurses to attend  and use name tags </a:t>
            </a:r>
          </a:p>
          <a:p>
            <a:r>
              <a:rPr lang="en-US" sz="2800" dirty="0">
                <a:solidFill>
                  <a:schemeClr val="bg2">
                    <a:lumMod val="50000"/>
                  </a:schemeClr>
                </a:solidFill>
              </a:rPr>
              <a:t>Every team to engage a Patient Partner to work with their QI team by 11/2</a:t>
            </a:r>
          </a:p>
          <a:p>
            <a:pPr lvl="1"/>
            <a:r>
              <a:rPr lang="en-US" sz="2400" dirty="0"/>
              <a:t>You may identify patients to ask if they want to work with your QI team as a Patient Partner through Respectful Care Breakfas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595C82-F1C4-47DE-A937-4A35A82B14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54D801-C4D7-49F7-B416-0D9C6A8D4F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15173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Calibri"/>
                <a:cs typeface="Calibri"/>
              </a:rPr>
              <a:t>Introducing...</a:t>
            </a:r>
            <a:br>
              <a:rPr lang="en-US">
                <a:ea typeface="Calibri"/>
                <a:cs typeface="Calibri"/>
              </a:rPr>
            </a:br>
            <a:r>
              <a:rPr lang="en-US">
                <a:ea typeface="Calibri"/>
                <a:cs typeface="Calibri"/>
              </a:rPr>
              <a:t>Birth Equity QI Summer Series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7319698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3569C2-FE06-372A-78F9-99BFA34F66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2002536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pic>
        <p:nvPicPr>
          <p:cNvPr id="6" name="Picture 6" descr="A picture containing qr code&#10;&#10;Description automatically generated">
            <a:extLst>
              <a:ext uri="{FF2B5EF4-FFF2-40B4-BE49-F238E27FC236}">
                <a16:creationId xmlns:a16="http://schemas.microsoft.com/office/drawing/2014/main" id="{60739DEC-175B-2770-7434-124925D3440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89451" y="457200"/>
            <a:ext cx="7013097" cy="59436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9786C4-DFD2-CEA4-4C7F-93323FC707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29</a:t>
            </a:fld>
            <a:endParaRPr lang="en-US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1303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6" name="Picture 6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4D1E89A6-D905-F173-7A37-526D584C9C0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9D585B-2392-9EFE-56B6-FF362DB7B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1E3CA43-49F5-2B6C-B166-342DAC0C4F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>
                <a:solidFill>
                  <a:srgbClr val="FFFFFF"/>
                </a:solidFill>
              </a:rPr>
              <a:pPr>
                <a:spcAft>
                  <a:spcPts val="600"/>
                </a:spcAft>
              </a:pPr>
              <a:t>3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89516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40746-8810-4130-F4C3-F52242E6F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1022009"/>
            <a:ext cx="10270945" cy="2014679"/>
          </a:xfrm>
        </p:spPr>
        <p:txBody>
          <a:bodyPr/>
          <a:lstStyle/>
          <a:p>
            <a:r>
              <a:rPr lang="en-US">
                <a:ea typeface="Lato Medium"/>
                <a:cs typeface="Calibri"/>
              </a:rPr>
              <a:t>Additional Resources / Announcements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476EE25-1807-3450-B858-BF7634CD1DE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7675728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 sz="2600" b="1"/>
          </a:p>
        </p:txBody>
      </p:sp>
    </p:spTree>
    <p:extLst>
      <p:ext uri="{BB962C8B-B14F-4D97-AF65-F5344CB8AC3E}">
        <p14:creationId xmlns:p14="http://schemas.microsoft.com/office/powerpoint/2010/main" val="3595473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082819" y="0"/>
            <a:ext cx="4097211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010646" y="-5010043"/>
            <a:ext cx="2170709" cy="12192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A2DF12-1DE1-9430-DCAF-746E3BECC4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564" y="348865"/>
            <a:ext cx="9718111" cy="1576446"/>
          </a:xfrm>
        </p:spPr>
        <p:txBody>
          <a:bodyPr anchor="ctr">
            <a:normAutofit/>
          </a:bodyPr>
          <a:lstStyle/>
          <a:p>
            <a:r>
              <a:rPr lang="en-US" sz="4000">
                <a:solidFill>
                  <a:srgbClr val="FFFFFF"/>
                </a:solidFill>
                <a:ea typeface="Lato Medium"/>
                <a:cs typeface="Lato Medium"/>
              </a:rPr>
              <a:t>Update: Diversity Science eModules </a:t>
            </a:r>
            <a:endParaRPr lang="en-US" sz="4000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6C5CDB-E8B8-ACE0-7D53-B6344DEDB9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907312" y="944619"/>
            <a:ext cx="2366335" cy="554148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050" dirty="0">
                <a:solidFill>
                  <a:srgbClr val="FFFFFF"/>
                </a:solidFill>
              </a:rPr>
              <a:t>Illinois Perinatal Quality Collaborative</a:t>
            </a:r>
            <a:endParaRPr lang="en-US" sz="1050" dirty="0">
              <a:solidFill>
                <a:srgbClr val="FFFFFF"/>
              </a:solidFill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C485F-09A3-9CAF-1412-47AE0A4336B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31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8D1D8DD3-3323-F2E5-AADC-701D24A1B67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38088601"/>
              </p:ext>
            </p:extLst>
          </p:nvPr>
        </p:nvGraphicFramePr>
        <p:xfrm>
          <a:off x="230568" y="2321110"/>
          <a:ext cx="11751612" cy="43209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6376567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BACC6370-2D7E-4714-9D71-7542949D7D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68B3F68-107C-434F-AA38-110D5EA91B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2" y="0"/>
            <a:ext cx="12191998" cy="2170031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19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AAD0DBB9-1A4B-4391-81D4-CB19F9AB91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8082819" y="0"/>
            <a:ext cx="4097211" cy="2170661"/>
          </a:xfrm>
          <a:prstGeom prst="rect">
            <a:avLst/>
          </a:prstGeom>
          <a:gradFill>
            <a:gsLst>
              <a:gs pos="19000">
                <a:schemeClr val="accent1">
                  <a:lumMod val="50000"/>
                  <a:alpha val="68000"/>
                </a:schemeClr>
              </a:gs>
              <a:gs pos="100000">
                <a:schemeClr val="accent1">
                  <a:alpha val="48000"/>
                </a:schemeClr>
              </a:gs>
            </a:gsLst>
            <a:lin ang="19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63BBA22-50EA-4C4D-BE05-F1CE4E63A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5010646" y="-5010043"/>
            <a:ext cx="2170709" cy="12192000"/>
          </a:xfrm>
          <a:prstGeom prst="rect">
            <a:avLst/>
          </a:prstGeom>
          <a:gradFill>
            <a:gsLst>
              <a:gs pos="23000">
                <a:schemeClr val="accent1">
                  <a:lumMod val="75000"/>
                  <a:alpha val="16000"/>
                </a:schemeClr>
              </a:gs>
              <a:gs pos="99000">
                <a:srgbClr val="000000">
                  <a:alpha val="45000"/>
                </a:srgbClr>
              </a:gs>
            </a:gsLst>
            <a:lin ang="21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7893DF-30F2-680B-A6E0-11C3C99BE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564" y="348865"/>
            <a:ext cx="9718111" cy="1576446"/>
          </a:xfrm>
        </p:spPr>
        <p:txBody>
          <a:bodyPr anchor="ctr">
            <a:normAutofit/>
          </a:bodyPr>
          <a:lstStyle/>
          <a:p>
            <a:r>
              <a:rPr lang="en-US" sz="3700">
                <a:solidFill>
                  <a:srgbClr val="FFFFFF"/>
                </a:solidFill>
                <a:ea typeface="Lato Medium"/>
                <a:cs typeface="Lato Medium"/>
              </a:rPr>
              <a:t>Other Educational Resources</a:t>
            </a:r>
            <a:br>
              <a:rPr lang="en-US" sz="3700">
                <a:solidFill>
                  <a:srgbClr val="FFFFFF"/>
                </a:solidFill>
                <a:ea typeface="Lato Medium"/>
                <a:cs typeface="Lato Medium"/>
              </a:rPr>
            </a:br>
            <a:r>
              <a:rPr lang="en-US" sz="3700">
                <a:solidFill>
                  <a:srgbClr val="FFFFFF"/>
                </a:solidFill>
                <a:ea typeface="Lato Medium"/>
                <a:cs typeface="Lato Medium"/>
              </a:rPr>
              <a:t>Visit ilpqc.org to access via the online BE toolkit!</a:t>
            </a:r>
            <a:endParaRPr lang="en-US" sz="3700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E8498-14A5-8AC9-9AAA-F4BE4726D3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1984248"/>
            <a:ext cx="4114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727656-B63B-B140-068C-D5AAB88981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32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5FB31894-BC55-D249-3A7F-EB60CF99036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81882131"/>
              </p:ext>
            </p:extLst>
          </p:nvPr>
        </p:nvGraphicFramePr>
        <p:xfrm>
          <a:off x="644056" y="2615979"/>
          <a:ext cx="10927829" cy="3689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377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D2D10EA4-36D1-BCFD-3B2A-38B1E755AC9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3101937" y="1876937"/>
            <a:ext cx="8727684" cy="4351338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5558CF8-7326-9ECC-AE06-A7ECADE71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991" y="-4296"/>
            <a:ext cx="11888695" cy="1597018"/>
          </a:xfrm>
          <a:solidFill>
            <a:schemeClr val="accent1"/>
          </a:solidFill>
        </p:spPr>
        <p:txBody>
          <a:bodyPr/>
          <a:lstStyle/>
          <a:p>
            <a:r>
              <a:rPr lang="en-US" sz="3200">
                <a:solidFill>
                  <a:schemeClr val="bg1"/>
                </a:solidFill>
                <a:ea typeface="Lato Medium"/>
                <a:cs typeface="Lato Medium"/>
              </a:rPr>
              <a:t>ILPQC-Sponsored – </a:t>
            </a:r>
            <a:r>
              <a:rPr lang="en-US" sz="2800">
                <a:solidFill>
                  <a:schemeClr val="bg1"/>
                </a:solidFill>
                <a:ea typeface="Lato Medium"/>
                <a:cs typeface="Lato Medium"/>
              </a:rPr>
              <a:t>FREE AWHONN Resource for your Respectful Care work: </a:t>
            </a:r>
            <a:br>
              <a:rPr lang="en-US" sz="3200">
                <a:ea typeface="Lato Medium"/>
                <a:cs typeface="Lato Medium"/>
              </a:rPr>
            </a:br>
            <a:r>
              <a:rPr lang="en-US" sz="2800" b="0">
                <a:solidFill>
                  <a:schemeClr val="bg1"/>
                </a:solidFill>
                <a:ea typeface="+mj-lt"/>
                <a:cs typeface="+mj-lt"/>
              </a:rPr>
              <a:t>Respectful Maternity Care Guideline  (RMC-EBG) &amp; </a:t>
            </a:r>
            <a:br>
              <a:rPr lang="en-US" sz="2800" b="0">
                <a:solidFill>
                  <a:schemeClr val="bg1"/>
                </a:solidFill>
                <a:ea typeface="+mj-lt"/>
                <a:cs typeface="+mj-lt"/>
              </a:rPr>
            </a:br>
            <a:r>
              <a:rPr lang="en-US" sz="2800" b="0">
                <a:solidFill>
                  <a:schemeClr val="bg1"/>
                </a:solidFill>
                <a:ea typeface="+mj-lt"/>
                <a:cs typeface="+mj-lt"/>
              </a:rPr>
              <a:t>Implementation Toolkit (RMC-IT)</a:t>
            </a:r>
            <a:endParaRPr lang="en-US" sz="2800">
              <a:solidFill>
                <a:schemeClr val="bg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4899B6-15C8-5A5C-A74F-6CE4CEA4531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87AE37-521D-384D-7F6E-D82763B1B7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F10777B-F3DD-90CA-8886-230C125ACE96}"/>
              </a:ext>
            </a:extLst>
          </p:cNvPr>
          <p:cNvSpPr/>
          <p:nvPr/>
        </p:nvSpPr>
        <p:spPr>
          <a:xfrm>
            <a:off x="257340" y="1487680"/>
            <a:ext cx="2700166" cy="5242632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ILPQC is providing access to 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(1) AWHONN Respectful Maternity Care Framework and Evidence-Based Guideline &amp; Toolkit for each BE Team.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A $74.95 value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1C498B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Team leads – check your email to learn more information!</a:t>
            </a:r>
          </a:p>
        </p:txBody>
      </p:sp>
      <p:pic>
        <p:nvPicPr>
          <p:cNvPr id="9" name="Picture 9" descr="A picture containing icon&#10;&#10;Description automatically generated">
            <a:extLst>
              <a:ext uri="{FF2B5EF4-FFF2-40B4-BE49-F238E27FC236}">
                <a16:creationId xmlns:a16="http://schemas.microsoft.com/office/drawing/2014/main" id="{1D5DE58A-38CB-633A-B4D3-BE37ACB4A82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03658" y="1814207"/>
            <a:ext cx="2165555" cy="1066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67215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E3596DD-156A-473E-9BB3-C6A29F7574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C46C4D6-C474-4E92-B52E-944C1118F7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5962785" cy="6858000"/>
          </a:xfrm>
          <a:custGeom>
            <a:avLst/>
            <a:gdLst>
              <a:gd name="connsiteX0" fmla="*/ 1044839 w 5962785"/>
              <a:gd name="connsiteY0" fmla="*/ 0 h 6858000"/>
              <a:gd name="connsiteX1" fmla="*/ 5962785 w 5962785"/>
              <a:gd name="connsiteY1" fmla="*/ 0 h 6858000"/>
              <a:gd name="connsiteX2" fmla="*/ 5962785 w 5962785"/>
              <a:gd name="connsiteY2" fmla="*/ 6858000 h 6858000"/>
              <a:gd name="connsiteX3" fmla="*/ 1469886 w 5962785"/>
              <a:gd name="connsiteY3" fmla="*/ 6858000 h 6858000"/>
              <a:gd name="connsiteX4" fmla="*/ 1416006 w 5962785"/>
              <a:gd name="connsiteY4" fmla="*/ 6823984 h 6858000"/>
              <a:gd name="connsiteX5" fmla="*/ 1232473 w 5962785"/>
              <a:gd name="connsiteY5" fmla="*/ 6733873 h 6858000"/>
              <a:gd name="connsiteX6" fmla="*/ 1075471 w 5962785"/>
              <a:gd name="connsiteY6" fmla="*/ 6503186 h 6858000"/>
              <a:gd name="connsiteX7" fmla="*/ 1020229 w 5962785"/>
              <a:gd name="connsiteY7" fmla="*/ 6438306 h 6858000"/>
              <a:gd name="connsiteX8" fmla="*/ 883579 w 5962785"/>
              <a:gd name="connsiteY8" fmla="*/ 6351798 h 6858000"/>
              <a:gd name="connsiteX9" fmla="*/ 645167 w 5962785"/>
              <a:gd name="connsiteY9" fmla="*/ 6167969 h 6858000"/>
              <a:gd name="connsiteX10" fmla="*/ 732391 w 5962785"/>
              <a:gd name="connsiteY10" fmla="*/ 6124716 h 6858000"/>
              <a:gd name="connsiteX11" fmla="*/ 985339 w 5962785"/>
              <a:gd name="connsiteY11" fmla="*/ 6236455 h 6858000"/>
              <a:gd name="connsiteX12" fmla="*/ 1168509 w 5962785"/>
              <a:gd name="connsiteY12" fmla="*/ 6265291 h 6858000"/>
              <a:gd name="connsiteX13" fmla="*/ 909746 w 5962785"/>
              <a:gd name="connsiteY13" fmla="*/ 6070649 h 6858000"/>
              <a:gd name="connsiteX14" fmla="*/ 659704 w 5962785"/>
              <a:gd name="connsiteY14" fmla="*/ 5818335 h 6858000"/>
              <a:gd name="connsiteX15" fmla="*/ 851597 w 5962785"/>
              <a:gd name="connsiteY15" fmla="*/ 5865193 h 6858000"/>
              <a:gd name="connsiteX16" fmla="*/ 860319 w 5962785"/>
              <a:gd name="connsiteY16" fmla="*/ 5832753 h 6858000"/>
              <a:gd name="connsiteX17" fmla="*/ 691686 w 5962785"/>
              <a:gd name="connsiteY17" fmla="*/ 5533581 h 6858000"/>
              <a:gd name="connsiteX18" fmla="*/ 610278 w 5962785"/>
              <a:gd name="connsiteY18" fmla="*/ 5411029 h 6858000"/>
              <a:gd name="connsiteX19" fmla="*/ 238123 w 5962785"/>
              <a:gd name="connsiteY19" fmla="*/ 5046976 h 6858000"/>
              <a:gd name="connsiteX20" fmla="*/ 592833 w 5962785"/>
              <a:gd name="connsiteY20" fmla="*/ 5209177 h 6858000"/>
              <a:gd name="connsiteX21" fmla="*/ 226494 w 5962785"/>
              <a:gd name="connsiteY21" fmla="*/ 4855939 h 6858000"/>
              <a:gd name="connsiteX22" fmla="*/ 49139 w 5962785"/>
              <a:gd name="connsiteY22" fmla="*/ 4726177 h 6858000"/>
              <a:gd name="connsiteX23" fmla="*/ 5527 w 5962785"/>
              <a:gd name="connsiteY23" fmla="*/ 4650483 h 6858000"/>
              <a:gd name="connsiteX24" fmla="*/ 84029 w 5962785"/>
              <a:gd name="connsiteY24" fmla="*/ 4632460 h 6858000"/>
              <a:gd name="connsiteX25" fmla="*/ 325347 w 5962785"/>
              <a:gd name="connsiteY25" fmla="*/ 4661296 h 6858000"/>
              <a:gd name="connsiteX26" fmla="*/ 25879 w 5962785"/>
              <a:gd name="connsiteY26" fmla="*/ 4423401 h 6858000"/>
              <a:gd name="connsiteX27" fmla="*/ 249753 w 5962785"/>
              <a:gd name="connsiteY27" fmla="*/ 4459446 h 6858000"/>
              <a:gd name="connsiteX28" fmla="*/ 313718 w 5962785"/>
              <a:gd name="connsiteY28" fmla="*/ 4365729 h 6858000"/>
              <a:gd name="connsiteX29" fmla="*/ 418386 w 5962785"/>
              <a:gd name="connsiteY29" fmla="*/ 4214341 h 6858000"/>
              <a:gd name="connsiteX30" fmla="*/ 491072 w 5962785"/>
              <a:gd name="connsiteY30" fmla="*/ 4131438 h 6858000"/>
              <a:gd name="connsiteX31" fmla="*/ 520147 w 5962785"/>
              <a:gd name="connsiteY31" fmla="*/ 3864706 h 6858000"/>
              <a:gd name="connsiteX32" fmla="*/ 459090 w 5962785"/>
              <a:gd name="connsiteY32" fmla="*/ 3572743 h 6858000"/>
              <a:gd name="connsiteX33" fmla="*/ 290458 w 5962785"/>
              <a:gd name="connsiteY33" fmla="*/ 3424959 h 6858000"/>
              <a:gd name="connsiteX34" fmla="*/ 339884 w 5962785"/>
              <a:gd name="connsiteY34" fmla="*/ 3259153 h 6858000"/>
              <a:gd name="connsiteX35" fmla="*/ 697501 w 5962785"/>
              <a:gd name="connsiteY35" fmla="*/ 3360078 h 6858000"/>
              <a:gd name="connsiteX36" fmla="*/ 165437 w 5962785"/>
              <a:gd name="connsiteY36" fmla="*/ 2967190 h 6858000"/>
              <a:gd name="connsiteX37" fmla="*/ 255568 w 5962785"/>
              <a:gd name="connsiteY37" fmla="*/ 2949167 h 6858000"/>
              <a:gd name="connsiteX38" fmla="*/ 578296 w 5962785"/>
              <a:gd name="connsiteY38" fmla="*/ 2725691 h 6858000"/>
              <a:gd name="connsiteX39" fmla="*/ 595740 w 5962785"/>
              <a:gd name="connsiteY39" fmla="*/ 2714876 h 6858000"/>
              <a:gd name="connsiteX40" fmla="*/ 650982 w 5962785"/>
              <a:gd name="connsiteY40" fmla="*/ 2574301 h 6858000"/>
              <a:gd name="connsiteX41" fmla="*/ 825429 w 5962785"/>
              <a:gd name="connsiteY41" fmla="*/ 2552674 h 6858000"/>
              <a:gd name="connsiteX42" fmla="*/ 970802 w 5962785"/>
              <a:gd name="connsiteY42" fmla="*/ 2585115 h 6858000"/>
              <a:gd name="connsiteX43" fmla="*/ 1127805 w 5962785"/>
              <a:gd name="connsiteY43" fmla="*/ 2545465 h 6858000"/>
              <a:gd name="connsiteX44" fmla="*/ 1267362 w 5962785"/>
              <a:gd name="connsiteY44" fmla="*/ 2563488 h 6858000"/>
              <a:gd name="connsiteX45" fmla="*/ 1386568 w 5962785"/>
              <a:gd name="connsiteY45" fmla="*/ 2538257 h 6858000"/>
              <a:gd name="connsiteX46" fmla="*/ 1270270 w 5962785"/>
              <a:gd name="connsiteY46" fmla="*/ 2419309 h 6858000"/>
              <a:gd name="connsiteX47" fmla="*/ 1107453 w 5962785"/>
              <a:gd name="connsiteY47" fmla="*/ 2419309 h 6858000"/>
              <a:gd name="connsiteX48" fmla="*/ 991154 w 5962785"/>
              <a:gd name="connsiteY48" fmla="*/ 2343615 h 6858000"/>
              <a:gd name="connsiteX49" fmla="*/ 880671 w 5962785"/>
              <a:gd name="connsiteY49" fmla="*/ 2206645 h 6858000"/>
              <a:gd name="connsiteX50" fmla="*/ 491072 w 5962785"/>
              <a:gd name="connsiteY50" fmla="*/ 1986771 h 6858000"/>
              <a:gd name="connsiteX51" fmla="*/ 421293 w 5962785"/>
              <a:gd name="connsiteY51" fmla="*/ 1903868 h 6858000"/>
              <a:gd name="connsiteX52" fmla="*/ 1531941 w 5962785"/>
              <a:gd name="connsiteY52" fmla="*/ 2224667 h 6858000"/>
              <a:gd name="connsiteX53" fmla="*/ 1188861 w 5962785"/>
              <a:gd name="connsiteY53" fmla="*/ 2091301 h 6858000"/>
              <a:gd name="connsiteX54" fmla="*/ 1421458 w 5962785"/>
              <a:gd name="connsiteY54" fmla="*/ 2116532 h 6858000"/>
              <a:gd name="connsiteX55" fmla="*/ 1549386 w 5962785"/>
              <a:gd name="connsiteY55" fmla="*/ 2026420 h 6858000"/>
              <a:gd name="connsiteX56" fmla="*/ 1549386 w 5962785"/>
              <a:gd name="connsiteY56" fmla="*/ 1997584 h 6858000"/>
              <a:gd name="connsiteX57" fmla="*/ 1453440 w 5962785"/>
              <a:gd name="connsiteY57" fmla="*/ 1914682 h 6858000"/>
              <a:gd name="connsiteX58" fmla="*/ 1398198 w 5962785"/>
              <a:gd name="connsiteY58" fmla="*/ 1860614 h 6858000"/>
              <a:gd name="connsiteX59" fmla="*/ 1247011 w 5962785"/>
              <a:gd name="connsiteY59" fmla="*/ 1665972 h 6858000"/>
              <a:gd name="connsiteX60" fmla="*/ 1354586 w 5962785"/>
              <a:gd name="connsiteY60" fmla="*/ 1644345 h 6858000"/>
              <a:gd name="connsiteX61" fmla="*/ 1395290 w 5962785"/>
              <a:gd name="connsiteY61" fmla="*/ 1604696 h 6858000"/>
              <a:gd name="connsiteX62" fmla="*/ 1366216 w 5962785"/>
              <a:gd name="connsiteY62" fmla="*/ 1547025 h 6858000"/>
              <a:gd name="connsiteX63" fmla="*/ 1031858 w 5962785"/>
              <a:gd name="connsiteY63" fmla="*/ 1370405 h 6858000"/>
              <a:gd name="connsiteX64" fmla="*/ 1005692 w 5962785"/>
              <a:gd name="connsiteY64" fmla="*/ 1233435 h 6858000"/>
              <a:gd name="connsiteX65" fmla="*/ 1069655 w 5962785"/>
              <a:gd name="connsiteY65" fmla="*/ 1211808 h 6858000"/>
              <a:gd name="connsiteX66" fmla="*/ 1142342 w 5962785"/>
              <a:gd name="connsiteY66" fmla="*/ 1222621 h 6858000"/>
              <a:gd name="connsiteX67" fmla="*/ 1084193 w 5962785"/>
              <a:gd name="connsiteY67" fmla="*/ 1114487 h 6858000"/>
              <a:gd name="connsiteX68" fmla="*/ 848689 w 5962785"/>
              <a:gd name="connsiteY68" fmla="*/ 1006353 h 6858000"/>
              <a:gd name="connsiteX69" fmla="*/ 805077 w 5962785"/>
              <a:gd name="connsiteY69" fmla="*/ 948681 h 6858000"/>
              <a:gd name="connsiteX70" fmla="*/ 863226 w 5962785"/>
              <a:gd name="connsiteY70" fmla="*/ 919844 h 6858000"/>
              <a:gd name="connsiteX71" fmla="*/ 906838 w 5962785"/>
              <a:gd name="connsiteY71" fmla="*/ 909031 h 6858000"/>
              <a:gd name="connsiteX72" fmla="*/ 5527 w 5962785"/>
              <a:gd name="connsiteY72" fmla="*/ 458471 h 6858000"/>
              <a:gd name="connsiteX73" fmla="*/ 209049 w 5962785"/>
              <a:gd name="connsiteY73" fmla="*/ 454867 h 6858000"/>
              <a:gd name="connsiteX74" fmla="*/ 409664 w 5962785"/>
              <a:gd name="connsiteY74" fmla="*/ 526956 h 6858000"/>
              <a:gd name="connsiteX75" fmla="*/ 621908 w 5962785"/>
              <a:gd name="connsiteY75" fmla="*/ 516143 h 6858000"/>
              <a:gd name="connsiteX76" fmla="*/ 822522 w 5962785"/>
              <a:gd name="connsiteY76" fmla="*/ 552188 h 6858000"/>
              <a:gd name="connsiteX77" fmla="*/ 996969 w 5962785"/>
              <a:gd name="connsiteY77" fmla="*/ 552188 h 6858000"/>
              <a:gd name="connsiteX78" fmla="*/ 834151 w 5962785"/>
              <a:gd name="connsiteY78" fmla="*/ 498120 h 6858000"/>
              <a:gd name="connsiteX79" fmla="*/ 773095 w 5962785"/>
              <a:gd name="connsiteY79" fmla="*/ 408008 h 6858000"/>
              <a:gd name="connsiteX80" fmla="*/ 793447 w 5962785"/>
              <a:gd name="connsiteY80" fmla="*/ 325106 h 6858000"/>
              <a:gd name="connsiteX81" fmla="*/ 860319 w 5962785"/>
              <a:gd name="connsiteY81" fmla="*/ 350336 h 6858000"/>
              <a:gd name="connsiteX82" fmla="*/ 938820 w 5962785"/>
              <a:gd name="connsiteY82" fmla="*/ 444054 h 6858000"/>
              <a:gd name="connsiteX83" fmla="*/ 956265 w 5962785"/>
              <a:gd name="connsiteY83" fmla="*/ 386381 h 6858000"/>
              <a:gd name="connsiteX84" fmla="*/ 1002784 w 5962785"/>
              <a:gd name="connsiteY84" fmla="*/ 343127 h 6858000"/>
              <a:gd name="connsiteX85" fmla="*/ 1270270 w 5962785"/>
              <a:gd name="connsiteY85" fmla="*/ 364755 h 6858000"/>
              <a:gd name="connsiteX86" fmla="*/ 1092915 w 5962785"/>
              <a:gd name="connsiteY86" fmla="*/ 180926 h 6858000"/>
              <a:gd name="connsiteX87" fmla="*/ 979525 w 5962785"/>
              <a:gd name="connsiteY87" fmla="*/ 152090 h 6858000"/>
              <a:gd name="connsiteX88" fmla="*/ 953358 w 5962785"/>
              <a:gd name="connsiteY88" fmla="*/ 76396 h 6858000"/>
              <a:gd name="connsiteX89" fmla="*/ 1005692 w 5962785"/>
              <a:gd name="connsiteY89" fmla="*/ 58373 h 6858000"/>
              <a:gd name="connsiteX90" fmla="*/ 1267362 w 5962785"/>
              <a:gd name="connsiteY90" fmla="*/ 123254 h 6858000"/>
              <a:gd name="connsiteX91" fmla="*/ 1310975 w 5962785"/>
              <a:gd name="connsiteY91" fmla="*/ 98023 h 6858000"/>
              <a:gd name="connsiteX92" fmla="*/ 1159787 w 5962785"/>
              <a:gd name="connsiteY92" fmla="*/ 4350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5962785" h="6858000">
                <a:moveTo>
                  <a:pt x="1044839" y="0"/>
                </a:moveTo>
                <a:lnTo>
                  <a:pt x="5962785" y="0"/>
                </a:lnTo>
                <a:lnTo>
                  <a:pt x="5962785" y="6858000"/>
                </a:lnTo>
                <a:lnTo>
                  <a:pt x="1469886" y="6858000"/>
                </a:lnTo>
                <a:lnTo>
                  <a:pt x="1416006" y="6823984"/>
                </a:lnTo>
                <a:cubicBezTo>
                  <a:pt x="1356767" y="6787940"/>
                  <a:pt x="1296437" y="6755500"/>
                  <a:pt x="1232473" y="6733873"/>
                </a:cubicBezTo>
                <a:cubicBezTo>
                  <a:pt x="1145250" y="6705037"/>
                  <a:pt x="1060933" y="6654575"/>
                  <a:pt x="1075471" y="6503186"/>
                </a:cubicBezTo>
                <a:cubicBezTo>
                  <a:pt x="1078378" y="6459932"/>
                  <a:pt x="1055118" y="6427493"/>
                  <a:pt x="1020229" y="6438306"/>
                </a:cubicBezTo>
                <a:cubicBezTo>
                  <a:pt x="953358" y="6459932"/>
                  <a:pt x="921375" y="6398656"/>
                  <a:pt x="883579" y="6351798"/>
                </a:cubicBezTo>
                <a:cubicBezTo>
                  <a:pt x="816707" y="6268895"/>
                  <a:pt x="752743" y="6182387"/>
                  <a:pt x="645167" y="6167969"/>
                </a:cubicBezTo>
                <a:cubicBezTo>
                  <a:pt x="665519" y="6103088"/>
                  <a:pt x="700408" y="6110298"/>
                  <a:pt x="732391" y="6124716"/>
                </a:cubicBezTo>
                <a:cubicBezTo>
                  <a:pt x="816707" y="6160761"/>
                  <a:pt x="901023" y="6200410"/>
                  <a:pt x="985339" y="6236455"/>
                </a:cubicBezTo>
                <a:cubicBezTo>
                  <a:pt x="1040581" y="6258081"/>
                  <a:pt x="1095822" y="6290522"/>
                  <a:pt x="1168509" y="6265291"/>
                </a:cubicBezTo>
                <a:cubicBezTo>
                  <a:pt x="1104545" y="6135530"/>
                  <a:pt x="996969" y="6110298"/>
                  <a:pt x="909746" y="6070649"/>
                </a:cubicBezTo>
                <a:cubicBezTo>
                  <a:pt x="802169" y="6020185"/>
                  <a:pt x="738206" y="5926470"/>
                  <a:pt x="659704" y="5818335"/>
                </a:cubicBezTo>
                <a:cubicBezTo>
                  <a:pt x="738206" y="5789500"/>
                  <a:pt x="787632" y="5868798"/>
                  <a:pt x="851597" y="5865193"/>
                </a:cubicBezTo>
                <a:cubicBezTo>
                  <a:pt x="854504" y="5854380"/>
                  <a:pt x="860319" y="5832753"/>
                  <a:pt x="860319" y="5832753"/>
                </a:cubicBezTo>
                <a:cubicBezTo>
                  <a:pt x="755650" y="5775081"/>
                  <a:pt x="709132" y="5666947"/>
                  <a:pt x="691686" y="5533581"/>
                </a:cubicBezTo>
                <a:cubicBezTo>
                  <a:pt x="685872" y="5465095"/>
                  <a:pt x="648075" y="5443468"/>
                  <a:pt x="610278" y="5411029"/>
                </a:cubicBezTo>
                <a:cubicBezTo>
                  <a:pt x="482350" y="5299289"/>
                  <a:pt x="345700" y="5198364"/>
                  <a:pt x="238123" y="5046976"/>
                </a:cubicBezTo>
                <a:cubicBezTo>
                  <a:pt x="363144" y="5064998"/>
                  <a:pt x="461997" y="5165924"/>
                  <a:pt x="592833" y="5209177"/>
                </a:cubicBezTo>
                <a:cubicBezTo>
                  <a:pt x="488165" y="5043371"/>
                  <a:pt x="351514" y="4956864"/>
                  <a:pt x="226494" y="4855939"/>
                </a:cubicBezTo>
                <a:cubicBezTo>
                  <a:pt x="168344" y="4809081"/>
                  <a:pt x="116011" y="4751408"/>
                  <a:pt x="49139" y="4726177"/>
                </a:cubicBezTo>
                <a:cubicBezTo>
                  <a:pt x="25879" y="4718968"/>
                  <a:pt x="-14825" y="4700947"/>
                  <a:pt x="5527" y="4650483"/>
                </a:cubicBezTo>
                <a:cubicBezTo>
                  <a:pt x="22972" y="4607230"/>
                  <a:pt x="54954" y="4621648"/>
                  <a:pt x="84029" y="4632460"/>
                </a:cubicBezTo>
                <a:cubicBezTo>
                  <a:pt x="153807" y="4661296"/>
                  <a:pt x="229401" y="4661296"/>
                  <a:pt x="325347" y="4661296"/>
                </a:cubicBezTo>
                <a:cubicBezTo>
                  <a:pt x="243939" y="4524326"/>
                  <a:pt x="95658" y="4567580"/>
                  <a:pt x="25879" y="4423401"/>
                </a:cubicBezTo>
                <a:cubicBezTo>
                  <a:pt x="113103" y="4398170"/>
                  <a:pt x="179975" y="4448632"/>
                  <a:pt x="249753" y="4459446"/>
                </a:cubicBezTo>
                <a:cubicBezTo>
                  <a:pt x="313718" y="4470259"/>
                  <a:pt x="328254" y="4445028"/>
                  <a:pt x="313718" y="4365729"/>
                </a:cubicBezTo>
                <a:cubicBezTo>
                  <a:pt x="290458" y="4243177"/>
                  <a:pt x="325347" y="4181900"/>
                  <a:pt x="418386" y="4214341"/>
                </a:cubicBezTo>
                <a:cubicBezTo>
                  <a:pt x="505609" y="4246781"/>
                  <a:pt x="514332" y="4199922"/>
                  <a:pt x="491072" y="4131438"/>
                </a:cubicBezTo>
                <a:cubicBezTo>
                  <a:pt x="456183" y="4030512"/>
                  <a:pt x="493979" y="3951214"/>
                  <a:pt x="520147" y="3864706"/>
                </a:cubicBezTo>
                <a:cubicBezTo>
                  <a:pt x="560851" y="3734945"/>
                  <a:pt x="543407" y="3670064"/>
                  <a:pt x="459090" y="3572743"/>
                </a:cubicBezTo>
                <a:cubicBezTo>
                  <a:pt x="409664" y="3518676"/>
                  <a:pt x="360236" y="3471818"/>
                  <a:pt x="290458" y="3424959"/>
                </a:cubicBezTo>
                <a:cubicBezTo>
                  <a:pt x="450368" y="3399728"/>
                  <a:pt x="284643" y="3313221"/>
                  <a:pt x="339884" y="3259153"/>
                </a:cubicBezTo>
                <a:cubicBezTo>
                  <a:pt x="453275" y="3237527"/>
                  <a:pt x="543407" y="3410542"/>
                  <a:pt x="697501" y="3360078"/>
                </a:cubicBezTo>
                <a:cubicBezTo>
                  <a:pt x="511425" y="3212294"/>
                  <a:pt x="302087" y="3165436"/>
                  <a:pt x="165437" y="2967190"/>
                </a:cubicBezTo>
                <a:cubicBezTo>
                  <a:pt x="197419" y="2923937"/>
                  <a:pt x="229401" y="2967190"/>
                  <a:pt x="255568" y="2949167"/>
                </a:cubicBezTo>
                <a:cubicBezTo>
                  <a:pt x="255568" y="2938354"/>
                  <a:pt x="560851" y="3006840"/>
                  <a:pt x="578296" y="2725691"/>
                </a:cubicBezTo>
                <a:cubicBezTo>
                  <a:pt x="584111" y="2725691"/>
                  <a:pt x="589926" y="2725691"/>
                  <a:pt x="595740" y="2714876"/>
                </a:cubicBezTo>
                <a:cubicBezTo>
                  <a:pt x="627722" y="2675228"/>
                  <a:pt x="598648" y="2581510"/>
                  <a:pt x="650982" y="2574301"/>
                </a:cubicBezTo>
                <a:cubicBezTo>
                  <a:pt x="709132" y="2567092"/>
                  <a:pt x="764373" y="2534653"/>
                  <a:pt x="825429" y="2552674"/>
                </a:cubicBezTo>
                <a:cubicBezTo>
                  <a:pt x="871949" y="2567092"/>
                  <a:pt x="921375" y="2585115"/>
                  <a:pt x="970802" y="2585115"/>
                </a:cubicBezTo>
                <a:cubicBezTo>
                  <a:pt x="1023136" y="2585115"/>
                  <a:pt x="1095822" y="2707668"/>
                  <a:pt x="1127805" y="2545465"/>
                </a:cubicBezTo>
                <a:cubicBezTo>
                  <a:pt x="1127805" y="2538257"/>
                  <a:pt x="1217936" y="2556280"/>
                  <a:pt x="1267362" y="2563488"/>
                </a:cubicBezTo>
                <a:cubicBezTo>
                  <a:pt x="1308067" y="2570698"/>
                  <a:pt x="1357494" y="2603137"/>
                  <a:pt x="1386568" y="2538257"/>
                </a:cubicBezTo>
                <a:cubicBezTo>
                  <a:pt x="1401105" y="2498607"/>
                  <a:pt x="1331326" y="2426518"/>
                  <a:pt x="1270270" y="2419309"/>
                </a:cubicBezTo>
                <a:cubicBezTo>
                  <a:pt x="1215029" y="2412101"/>
                  <a:pt x="1159787" y="2404892"/>
                  <a:pt x="1107453" y="2419309"/>
                </a:cubicBezTo>
                <a:cubicBezTo>
                  <a:pt x="1043489" y="2437331"/>
                  <a:pt x="1008599" y="2408495"/>
                  <a:pt x="991154" y="2343615"/>
                </a:cubicBezTo>
                <a:cubicBezTo>
                  <a:pt x="970802" y="2275131"/>
                  <a:pt x="933005" y="2239085"/>
                  <a:pt x="880671" y="2206645"/>
                </a:cubicBezTo>
                <a:cubicBezTo>
                  <a:pt x="752743" y="2127346"/>
                  <a:pt x="630630" y="2033629"/>
                  <a:pt x="491072" y="1986771"/>
                </a:cubicBezTo>
                <a:cubicBezTo>
                  <a:pt x="464905" y="1979562"/>
                  <a:pt x="432923" y="1965145"/>
                  <a:pt x="421293" y="1903868"/>
                </a:cubicBezTo>
                <a:cubicBezTo>
                  <a:pt x="799262" y="1997584"/>
                  <a:pt x="1142342" y="2239085"/>
                  <a:pt x="1531941" y="2224667"/>
                </a:cubicBezTo>
                <a:cubicBezTo>
                  <a:pt x="1427272" y="2148974"/>
                  <a:pt x="1302252" y="2145369"/>
                  <a:pt x="1188861" y="2091301"/>
                </a:cubicBezTo>
                <a:cubicBezTo>
                  <a:pt x="1270270" y="2051652"/>
                  <a:pt x="1345864" y="2094906"/>
                  <a:pt x="1421458" y="2116532"/>
                </a:cubicBezTo>
                <a:cubicBezTo>
                  <a:pt x="1485422" y="2134554"/>
                  <a:pt x="1543571" y="2138160"/>
                  <a:pt x="1549386" y="2026420"/>
                </a:cubicBezTo>
                <a:cubicBezTo>
                  <a:pt x="1549386" y="2015607"/>
                  <a:pt x="1549386" y="2008398"/>
                  <a:pt x="1549386" y="1997584"/>
                </a:cubicBezTo>
                <a:cubicBezTo>
                  <a:pt x="1526126" y="1950727"/>
                  <a:pt x="1494144" y="1929099"/>
                  <a:pt x="1453440" y="1914682"/>
                </a:cubicBezTo>
                <a:cubicBezTo>
                  <a:pt x="1430180" y="1907473"/>
                  <a:pt x="1398198" y="1893056"/>
                  <a:pt x="1398198" y="1860614"/>
                </a:cubicBezTo>
                <a:cubicBezTo>
                  <a:pt x="1401105" y="1738063"/>
                  <a:pt x="1322604" y="1702018"/>
                  <a:pt x="1247011" y="1665972"/>
                </a:cubicBezTo>
                <a:cubicBezTo>
                  <a:pt x="1287715" y="1604696"/>
                  <a:pt x="1322604" y="1647950"/>
                  <a:pt x="1354586" y="1644345"/>
                </a:cubicBezTo>
                <a:cubicBezTo>
                  <a:pt x="1374939" y="1640741"/>
                  <a:pt x="1395290" y="1637138"/>
                  <a:pt x="1395290" y="1604696"/>
                </a:cubicBezTo>
                <a:cubicBezTo>
                  <a:pt x="1395290" y="1579465"/>
                  <a:pt x="1386568" y="1547025"/>
                  <a:pt x="1366216" y="1547025"/>
                </a:cubicBezTo>
                <a:cubicBezTo>
                  <a:pt x="1238288" y="1543420"/>
                  <a:pt x="1165601" y="1370405"/>
                  <a:pt x="1031858" y="1370405"/>
                </a:cubicBezTo>
                <a:cubicBezTo>
                  <a:pt x="950450" y="1370405"/>
                  <a:pt x="1072563" y="1273083"/>
                  <a:pt x="1005692" y="1233435"/>
                </a:cubicBezTo>
                <a:cubicBezTo>
                  <a:pt x="991154" y="1222621"/>
                  <a:pt x="1046396" y="1208203"/>
                  <a:pt x="1069655" y="1211808"/>
                </a:cubicBezTo>
                <a:cubicBezTo>
                  <a:pt x="1092915" y="1215412"/>
                  <a:pt x="1113268" y="1240644"/>
                  <a:pt x="1142342" y="1222621"/>
                </a:cubicBezTo>
                <a:cubicBezTo>
                  <a:pt x="1156879" y="1157741"/>
                  <a:pt x="1119082" y="1132510"/>
                  <a:pt x="1084193" y="1114487"/>
                </a:cubicBezTo>
                <a:cubicBezTo>
                  <a:pt x="1008599" y="1071234"/>
                  <a:pt x="933005" y="1020771"/>
                  <a:pt x="848689" y="1006353"/>
                </a:cubicBezTo>
                <a:cubicBezTo>
                  <a:pt x="819615" y="1002748"/>
                  <a:pt x="802169" y="984726"/>
                  <a:pt x="805077" y="948681"/>
                </a:cubicBezTo>
                <a:cubicBezTo>
                  <a:pt x="810892" y="901822"/>
                  <a:pt x="839967" y="916240"/>
                  <a:pt x="863226" y="919844"/>
                </a:cubicBezTo>
                <a:cubicBezTo>
                  <a:pt x="877764" y="923450"/>
                  <a:pt x="892301" y="934263"/>
                  <a:pt x="906838" y="909031"/>
                </a:cubicBezTo>
                <a:cubicBezTo>
                  <a:pt x="566666" y="653113"/>
                  <a:pt x="386404" y="667532"/>
                  <a:pt x="5527" y="458471"/>
                </a:cubicBezTo>
                <a:cubicBezTo>
                  <a:pt x="89843" y="418822"/>
                  <a:pt x="150900" y="447658"/>
                  <a:pt x="209049" y="454867"/>
                </a:cubicBezTo>
                <a:cubicBezTo>
                  <a:pt x="354422" y="472890"/>
                  <a:pt x="264290" y="505329"/>
                  <a:pt x="409664" y="526956"/>
                </a:cubicBezTo>
                <a:cubicBezTo>
                  <a:pt x="479443" y="537770"/>
                  <a:pt x="543407" y="573815"/>
                  <a:pt x="621908" y="516143"/>
                </a:cubicBezTo>
                <a:cubicBezTo>
                  <a:pt x="674242" y="476494"/>
                  <a:pt x="758558" y="519747"/>
                  <a:pt x="822522" y="552188"/>
                </a:cubicBezTo>
                <a:cubicBezTo>
                  <a:pt x="874856" y="581024"/>
                  <a:pt x="927190" y="588232"/>
                  <a:pt x="996969" y="552188"/>
                </a:cubicBezTo>
                <a:cubicBezTo>
                  <a:pt x="933005" y="530562"/>
                  <a:pt x="883579" y="512539"/>
                  <a:pt x="834151" y="498120"/>
                </a:cubicBezTo>
                <a:cubicBezTo>
                  <a:pt x="793447" y="487307"/>
                  <a:pt x="770187" y="462076"/>
                  <a:pt x="773095" y="408008"/>
                </a:cubicBezTo>
                <a:cubicBezTo>
                  <a:pt x="773095" y="379172"/>
                  <a:pt x="764373" y="339523"/>
                  <a:pt x="793447" y="325106"/>
                </a:cubicBezTo>
                <a:cubicBezTo>
                  <a:pt x="816707" y="310688"/>
                  <a:pt x="848689" y="325106"/>
                  <a:pt x="860319" y="350336"/>
                </a:cubicBezTo>
                <a:cubicBezTo>
                  <a:pt x="874856" y="397195"/>
                  <a:pt x="889393" y="440449"/>
                  <a:pt x="938820" y="444054"/>
                </a:cubicBezTo>
                <a:cubicBezTo>
                  <a:pt x="1005692" y="451262"/>
                  <a:pt x="967894" y="422426"/>
                  <a:pt x="956265" y="386381"/>
                </a:cubicBezTo>
                <a:cubicBezTo>
                  <a:pt x="944635" y="346733"/>
                  <a:pt x="979525" y="335919"/>
                  <a:pt x="1002784" y="343127"/>
                </a:cubicBezTo>
                <a:cubicBezTo>
                  <a:pt x="1090008" y="375569"/>
                  <a:pt x="1180139" y="317897"/>
                  <a:pt x="1270270" y="364755"/>
                </a:cubicBezTo>
                <a:cubicBezTo>
                  <a:pt x="1247011" y="249411"/>
                  <a:pt x="1197583" y="198949"/>
                  <a:pt x="1092915" y="180926"/>
                </a:cubicBezTo>
                <a:cubicBezTo>
                  <a:pt x="1055118" y="177322"/>
                  <a:pt x="1014414" y="184530"/>
                  <a:pt x="979525" y="152090"/>
                </a:cubicBezTo>
                <a:cubicBezTo>
                  <a:pt x="959172" y="134068"/>
                  <a:pt x="938820" y="112441"/>
                  <a:pt x="953358" y="76396"/>
                </a:cubicBezTo>
                <a:cubicBezTo>
                  <a:pt x="962080" y="51165"/>
                  <a:pt x="985339" y="51165"/>
                  <a:pt x="1005692" y="58373"/>
                </a:cubicBezTo>
                <a:cubicBezTo>
                  <a:pt x="1090008" y="98023"/>
                  <a:pt x="1180139" y="108837"/>
                  <a:pt x="1267362" y="123254"/>
                </a:cubicBezTo>
                <a:cubicBezTo>
                  <a:pt x="1281900" y="126859"/>
                  <a:pt x="1296437" y="134068"/>
                  <a:pt x="1310975" y="98023"/>
                </a:cubicBezTo>
                <a:cubicBezTo>
                  <a:pt x="1260095" y="81803"/>
                  <a:pt x="1209941" y="62879"/>
                  <a:pt x="1159787" y="43505"/>
                </a:cubicBez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CD273-DEA5-45AF-9D5A-391AF310D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2837" y="477212"/>
            <a:ext cx="4588741" cy="1800526"/>
          </a:xfrm>
        </p:spPr>
        <p:txBody>
          <a:bodyPr>
            <a:normAutofit fontScale="90000"/>
          </a:bodyPr>
          <a:lstStyle/>
          <a:p>
            <a:r>
              <a:rPr lang="en-US">
                <a:ea typeface="Lato Medium"/>
                <a:cs typeface="Lato Medium"/>
              </a:rPr>
              <a:t>Host toolkit for Aftershock viewing with your clinical team 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ED68A6-1B31-73E4-6D22-293A071B4F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1" y="2324759"/>
            <a:ext cx="3888528" cy="3553581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1900">
                <a:ea typeface="+mn-lt"/>
                <a:cs typeface="+mn-lt"/>
              </a:rPr>
              <a:t>Spotlights the long-lasting effects of the U.S. Maternal Health Crisis, following two families seeking justice through legislation, medical accountability, community, and the power of art.</a:t>
            </a:r>
          </a:p>
          <a:p>
            <a:pPr>
              <a:lnSpc>
                <a:spcPct val="90000"/>
              </a:lnSpc>
            </a:pPr>
            <a:r>
              <a:rPr lang="en-US" sz="1900" b="1">
                <a:ea typeface="+mn-lt"/>
                <a:cs typeface="+mn-lt"/>
              </a:rPr>
              <a:t>Currently available to screen on Hulu with Hulu account!</a:t>
            </a:r>
            <a:endParaRPr lang="en-US" sz="1900" b="1"/>
          </a:p>
          <a:p>
            <a:pPr>
              <a:lnSpc>
                <a:spcPct val="90000"/>
              </a:lnSpc>
            </a:pPr>
            <a:r>
              <a:rPr lang="en-US" sz="1900">
                <a:ea typeface="+mn-lt"/>
                <a:cs typeface="+mn-lt"/>
              </a:rPr>
              <a:t>If you're interested in hosting a screening or watch party, you can utilize the </a:t>
            </a:r>
            <a:r>
              <a:rPr lang="en-US" sz="1900">
                <a:ea typeface="+mn-lt"/>
                <a:cs typeface="+mn-lt"/>
                <a:hlinkClick r:id="rId2"/>
              </a:rPr>
              <a:t>host toolkit.</a:t>
            </a:r>
            <a:endParaRPr lang="en-US" sz="1900">
              <a:cs typeface="Calibri"/>
            </a:endParaRPr>
          </a:p>
        </p:txBody>
      </p:sp>
      <p:pic>
        <p:nvPicPr>
          <p:cNvPr id="6" name="Picture 6" descr="Diagram&#10;&#10;Description automatically generated">
            <a:extLst>
              <a:ext uri="{FF2B5EF4-FFF2-40B4-BE49-F238E27FC236}">
                <a16:creationId xmlns:a16="http://schemas.microsoft.com/office/drawing/2014/main" id="{3CF6352C-80D4-8411-F069-EF580A297D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7982" y="643234"/>
            <a:ext cx="4473555" cy="5599876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5DA53E-FFF7-E00B-4455-F505E0189A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4F9562-47DD-46D2-33E6-22AF95DD8AB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137862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04812C46-200A-4DEB-A05E-3ED6C68C238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049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A picture containing text, book, vector graphics&#10;&#10;Description automatically generated">
            <a:extLst>
              <a:ext uri="{FF2B5EF4-FFF2-40B4-BE49-F238E27FC236}">
                <a16:creationId xmlns:a16="http://schemas.microsoft.com/office/drawing/2014/main" id="{257F7A56-7596-0EA0-62B4-6E14ECE14B9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386" r="19115"/>
          <a:stretch/>
        </p:blipFill>
        <p:spPr>
          <a:xfrm>
            <a:off x="2522356" y="10"/>
            <a:ext cx="9669642" cy="685799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1EA859B-E555-4109-94F3-6700E046E0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7390263" cy="6858000"/>
          </a:xfrm>
          <a:prstGeom prst="rect">
            <a:avLst/>
          </a:prstGeom>
          <a:gradFill>
            <a:gsLst>
              <a:gs pos="48000">
                <a:schemeClr val="bg1"/>
              </a:gs>
              <a:gs pos="35000">
                <a:schemeClr val="bg1">
                  <a:alpha val="77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0A4E6C3-8987-D5B6-6218-7D07429A5A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570" y="393347"/>
            <a:ext cx="4687670" cy="1899912"/>
          </a:xfrm>
        </p:spPr>
        <p:txBody>
          <a:bodyPr vert="horz" lIns="91440" tIns="45720" rIns="91440" bIns="45720" rtlCol="0">
            <a:normAutofit fontScale="90000"/>
          </a:bodyPr>
          <a:lstStyle/>
          <a:p>
            <a:r>
              <a:rPr lang="en-US" sz="4400">
                <a:ea typeface="+mj-ea"/>
                <a:cs typeface="+mj-cs"/>
              </a:rPr>
              <a:t>Watch Birthing Justice: FREE on PBS!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C3F822-2CC1-70A8-EF41-558AF20512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434201"/>
            <a:ext cx="3135449" cy="3742762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800">
                <a:ea typeface="+mn-ea"/>
                <a:cs typeface="+mn-cs"/>
                <a:hlinkClick r:id="rId3"/>
              </a:rPr>
              <a:t>Linked Here</a:t>
            </a:r>
            <a:endParaRPr lang="en-US">
              <a:ea typeface="+mn-ea"/>
            </a:endParaRPr>
          </a:p>
          <a:p>
            <a:pPr marL="0" indent="0">
              <a:buNone/>
            </a:pPr>
            <a:r>
              <a:rPr lang="en-US" sz="2800">
                <a:ea typeface="+mn-ea"/>
                <a:cs typeface="Calibri"/>
              </a:rPr>
              <a:t>Watch with your team and explore the </a:t>
            </a:r>
            <a:r>
              <a:rPr lang="en-US" sz="2800">
                <a:ea typeface="+mn-ea"/>
                <a:cs typeface="Calibri"/>
                <a:hlinkClick r:id="rId4"/>
              </a:rPr>
              <a:t>Birthing Justice Discussion Guide</a:t>
            </a:r>
            <a:r>
              <a:rPr lang="en-US" sz="2800">
                <a:ea typeface="+mn-ea"/>
                <a:cs typeface="Calibri"/>
              </a:rPr>
              <a:t>!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4ABC76-4D39-F604-C5BB-31CB5C011E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494A73-5A56-8C5B-68D7-F8ACBFDF3E3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5024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9BB35BC-D5C2-4C8B-A22A-A71E619191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3AC2EF-9D80-3BB3-5406-213D6A03EE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13788" y="365125"/>
            <a:ext cx="4840010" cy="1807305"/>
          </a:xfrm>
        </p:spPr>
        <p:txBody>
          <a:bodyPr>
            <a:normAutofit/>
          </a:bodyPr>
          <a:lstStyle/>
          <a:p>
            <a:r>
              <a:rPr lang="en-US">
                <a:ea typeface="Lato Medium"/>
                <a:cs typeface="Lato Medium"/>
              </a:rPr>
              <a:t>Attend AIM TAP Webinar on June 15th!</a:t>
            </a:r>
            <a:endParaRPr lang="en-US"/>
          </a:p>
        </p:txBody>
      </p:sp>
      <p:pic>
        <p:nvPicPr>
          <p:cNvPr id="7" name="Picture 6" descr="Calendar on table">
            <a:extLst>
              <a:ext uri="{FF2B5EF4-FFF2-40B4-BE49-F238E27FC236}">
                <a16:creationId xmlns:a16="http://schemas.microsoft.com/office/drawing/2014/main" id="{20E03F15-1114-FACE-7BB0-7AC5CB1339D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566" r="38987" b="-3"/>
          <a:stretch/>
        </p:blipFill>
        <p:spPr>
          <a:xfrm>
            <a:off x="20" y="10"/>
            <a:ext cx="6116549" cy="6857990"/>
          </a:xfrm>
          <a:custGeom>
            <a:avLst/>
            <a:gdLst/>
            <a:ahLst/>
            <a:cxnLst/>
            <a:rect l="l" t="t" r="r" b="b"/>
            <a:pathLst>
              <a:path w="6116569" h="6879321">
                <a:moveTo>
                  <a:pt x="0" y="0"/>
                </a:moveTo>
                <a:lnTo>
                  <a:pt x="2935851" y="0"/>
                </a:lnTo>
                <a:cubicBezTo>
                  <a:pt x="3035710" y="10660"/>
                  <a:pt x="3138421" y="17767"/>
                  <a:pt x="3238280" y="31980"/>
                </a:cubicBezTo>
                <a:cubicBezTo>
                  <a:pt x="3817462" y="106602"/>
                  <a:pt x="3127009" y="277163"/>
                  <a:pt x="3660541" y="550772"/>
                </a:cubicBezTo>
                <a:cubicBezTo>
                  <a:pt x="3706191" y="575645"/>
                  <a:pt x="3757546" y="579199"/>
                  <a:pt x="3808902" y="589860"/>
                </a:cubicBezTo>
                <a:cubicBezTo>
                  <a:pt x="4008620" y="625393"/>
                  <a:pt x="4211192" y="618286"/>
                  <a:pt x="4413762" y="625393"/>
                </a:cubicBezTo>
                <a:cubicBezTo>
                  <a:pt x="4465118" y="628946"/>
                  <a:pt x="4525033" y="625393"/>
                  <a:pt x="4567830" y="721333"/>
                </a:cubicBezTo>
                <a:cubicBezTo>
                  <a:pt x="4425175" y="724888"/>
                  <a:pt x="4305344" y="731994"/>
                  <a:pt x="4171247" y="792401"/>
                </a:cubicBezTo>
                <a:cubicBezTo>
                  <a:pt x="4239722" y="859916"/>
                  <a:pt x="4322462" y="795955"/>
                  <a:pt x="4376671" y="842148"/>
                </a:cubicBezTo>
                <a:cubicBezTo>
                  <a:pt x="4428027" y="888342"/>
                  <a:pt x="4470824" y="891896"/>
                  <a:pt x="4527887" y="813722"/>
                </a:cubicBezTo>
                <a:cubicBezTo>
                  <a:pt x="4556417" y="774634"/>
                  <a:pt x="4604920" y="778187"/>
                  <a:pt x="4633452" y="799508"/>
                </a:cubicBezTo>
                <a:cubicBezTo>
                  <a:pt x="4781813" y="913216"/>
                  <a:pt x="4778960" y="909662"/>
                  <a:pt x="4947293" y="870576"/>
                </a:cubicBezTo>
                <a:cubicBezTo>
                  <a:pt x="5055712" y="845701"/>
                  <a:pt x="5166983" y="806615"/>
                  <a:pt x="5263988" y="820828"/>
                </a:cubicBezTo>
                <a:cubicBezTo>
                  <a:pt x="5275401" y="867022"/>
                  <a:pt x="5263988" y="888342"/>
                  <a:pt x="5249723" y="895449"/>
                </a:cubicBezTo>
                <a:cubicBezTo>
                  <a:pt x="5021475" y="1005604"/>
                  <a:pt x="4975825" y="1122864"/>
                  <a:pt x="4744723" y="1197485"/>
                </a:cubicBezTo>
                <a:cubicBezTo>
                  <a:pt x="4724751" y="1268552"/>
                  <a:pt x="4807491" y="1275660"/>
                  <a:pt x="4767548" y="1346727"/>
                </a:cubicBezTo>
                <a:cubicBezTo>
                  <a:pt x="4693367" y="1407134"/>
                  <a:pt x="4610627" y="1346727"/>
                  <a:pt x="4539299" y="1421348"/>
                </a:cubicBezTo>
                <a:cubicBezTo>
                  <a:pt x="4550712" y="1471094"/>
                  <a:pt x="4610627" y="1432008"/>
                  <a:pt x="4607773" y="1485309"/>
                </a:cubicBezTo>
                <a:cubicBezTo>
                  <a:pt x="4604920" y="1517288"/>
                  <a:pt x="4593508" y="1527948"/>
                  <a:pt x="4579242" y="1535055"/>
                </a:cubicBezTo>
                <a:cubicBezTo>
                  <a:pt x="4776107" y="1538608"/>
                  <a:pt x="5383820" y="1574142"/>
                  <a:pt x="5278255" y="1609676"/>
                </a:cubicBezTo>
                <a:cubicBezTo>
                  <a:pt x="5418057" y="1698511"/>
                  <a:pt x="5623481" y="1609676"/>
                  <a:pt x="5771843" y="1630997"/>
                </a:cubicBezTo>
                <a:cubicBezTo>
                  <a:pt x="5925911" y="1652316"/>
                  <a:pt x="6171278" y="1719830"/>
                  <a:pt x="6105656" y="1748257"/>
                </a:cubicBezTo>
                <a:cubicBezTo>
                  <a:pt x="6031475" y="1780238"/>
                  <a:pt x="5766136" y="2146235"/>
                  <a:pt x="5691955" y="2167555"/>
                </a:cubicBezTo>
                <a:cubicBezTo>
                  <a:pt x="5606362" y="2188875"/>
                  <a:pt x="5589243" y="2217302"/>
                  <a:pt x="5475118" y="2348776"/>
                </a:cubicBezTo>
                <a:cubicBezTo>
                  <a:pt x="5398085" y="2437610"/>
                  <a:pt x="5709074" y="2238623"/>
                  <a:pt x="5826051" y="2291922"/>
                </a:cubicBezTo>
                <a:cubicBezTo>
                  <a:pt x="5868848" y="2309690"/>
                  <a:pt x="5552153" y="2554872"/>
                  <a:pt x="5552153" y="2597513"/>
                </a:cubicBezTo>
                <a:cubicBezTo>
                  <a:pt x="5549300" y="2640153"/>
                  <a:pt x="5577831" y="2647260"/>
                  <a:pt x="5603508" y="2647260"/>
                </a:cubicBezTo>
                <a:cubicBezTo>
                  <a:pt x="5660571" y="2647260"/>
                  <a:pt x="5640599" y="2686346"/>
                  <a:pt x="5700515" y="2679240"/>
                </a:cubicBezTo>
                <a:cubicBezTo>
                  <a:pt x="5523622" y="2800055"/>
                  <a:pt x="5418057" y="2778734"/>
                  <a:pt x="5246870" y="2888889"/>
                </a:cubicBezTo>
                <a:cubicBezTo>
                  <a:pt x="5164130" y="2942189"/>
                  <a:pt x="4921615" y="3119857"/>
                  <a:pt x="4836022" y="3169605"/>
                </a:cubicBezTo>
                <a:cubicBezTo>
                  <a:pt x="4801785" y="3187371"/>
                  <a:pt x="4758988" y="3173158"/>
                  <a:pt x="4736163" y="3233565"/>
                </a:cubicBezTo>
                <a:cubicBezTo>
                  <a:pt x="4770400" y="3279759"/>
                  <a:pt x="4816050" y="3254885"/>
                  <a:pt x="4853141" y="3233565"/>
                </a:cubicBezTo>
                <a:cubicBezTo>
                  <a:pt x="4944440" y="3176711"/>
                  <a:pt x="4935881" y="3190925"/>
                  <a:pt x="4944440" y="3226459"/>
                </a:cubicBezTo>
                <a:cubicBezTo>
                  <a:pt x="4972972" y="3350827"/>
                  <a:pt x="5044300" y="3308186"/>
                  <a:pt x="5109921" y="3283313"/>
                </a:cubicBezTo>
                <a:cubicBezTo>
                  <a:pt x="5303932" y="3208692"/>
                  <a:pt x="5500797" y="3215799"/>
                  <a:pt x="5694809" y="3141178"/>
                </a:cubicBezTo>
                <a:cubicBezTo>
                  <a:pt x="5714781" y="3134070"/>
                  <a:pt x="5612068" y="3283313"/>
                  <a:pt x="5566419" y="3301079"/>
                </a:cubicBezTo>
                <a:cubicBezTo>
                  <a:pt x="5515063" y="3322399"/>
                  <a:pt x="5452294" y="3311739"/>
                  <a:pt x="5415203" y="3397020"/>
                </a:cubicBezTo>
                <a:cubicBezTo>
                  <a:pt x="5477972" y="3414787"/>
                  <a:pt x="5552153" y="3372147"/>
                  <a:pt x="5612068" y="3432554"/>
                </a:cubicBezTo>
                <a:cubicBezTo>
                  <a:pt x="5469413" y="3528494"/>
                  <a:pt x="5329610" y="3535601"/>
                  <a:pt x="5206927" y="3599562"/>
                </a:cubicBezTo>
                <a:cubicBezTo>
                  <a:pt x="5192661" y="3706163"/>
                  <a:pt x="5272548" y="3663523"/>
                  <a:pt x="5301079" y="3723930"/>
                </a:cubicBezTo>
                <a:cubicBezTo>
                  <a:pt x="5072830" y="3844745"/>
                  <a:pt x="4564977" y="4232062"/>
                  <a:pt x="4507915" y="4306683"/>
                </a:cubicBezTo>
                <a:cubicBezTo>
                  <a:pt x="4390937" y="4463031"/>
                  <a:pt x="3900202" y="4562525"/>
                  <a:pt x="3982942" y="4587399"/>
                </a:cubicBezTo>
                <a:cubicBezTo>
                  <a:pt x="4051417" y="4608719"/>
                  <a:pt x="4119891" y="4587399"/>
                  <a:pt x="4185513" y="4541205"/>
                </a:cubicBezTo>
                <a:cubicBezTo>
                  <a:pt x="4291078" y="4466584"/>
                  <a:pt x="5010062" y="4523438"/>
                  <a:pt x="5212633" y="4455924"/>
                </a:cubicBezTo>
                <a:cubicBezTo>
                  <a:pt x="5241164" y="4445264"/>
                  <a:pt x="5283960" y="4409730"/>
                  <a:pt x="5312492" y="4473691"/>
                </a:cubicBezTo>
                <a:cubicBezTo>
                  <a:pt x="5098508" y="4704659"/>
                  <a:pt x="4833169" y="4654913"/>
                  <a:pt x="4596361" y="4818368"/>
                </a:cubicBezTo>
                <a:cubicBezTo>
                  <a:pt x="4684807" y="4917861"/>
                  <a:pt x="4776107" y="4907202"/>
                  <a:pt x="4873113" y="4885882"/>
                </a:cubicBezTo>
                <a:cubicBezTo>
                  <a:pt x="4895938" y="4878775"/>
                  <a:pt x="4930175" y="4871668"/>
                  <a:pt x="4935881" y="4914309"/>
                </a:cubicBezTo>
                <a:cubicBezTo>
                  <a:pt x="4941587" y="4967609"/>
                  <a:pt x="4898790" y="4978270"/>
                  <a:pt x="4873113" y="5003143"/>
                </a:cubicBezTo>
                <a:cubicBezTo>
                  <a:pt x="4833169" y="5038676"/>
                  <a:pt x="4773254" y="4999590"/>
                  <a:pt x="4721898" y="5095530"/>
                </a:cubicBezTo>
                <a:cubicBezTo>
                  <a:pt x="4873113" y="5067104"/>
                  <a:pt x="4998650" y="5020910"/>
                  <a:pt x="5132745" y="4949842"/>
                </a:cubicBezTo>
                <a:cubicBezTo>
                  <a:pt x="5121333" y="5006696"/>
                  <a:pt x="5081390" y="5035123"/>
                  <a:pt x="5101362" y="5081317"/>
                </a:cubicBezTo>
                <a:cubicBezTo>
                  <a:pt x="5118480" y="5116850"/>
                  <a:pt x="5164130" y="5131063"/>
                  <a:pt x="5138452" y="5198578"/>
                </a:cubicBezTo>
                <a:cubicBezTo>
                  <a:pt x="5067125" y="5273199"/>
                  <a:pt x="4967265" y="5258986"/>
                  <a:pt x="4904497" y="5362033"/>
                </a:cubicBezTo>
                <a:cubicBezTo>
                  <a:pt x="4818903" y="5507721"/>
                  <a:pt x="4684807" y="5564575"/>
                  <a:pt x="4579242" y="5674729"/>
                </a:cubicBezTo>
                <a:cubicBezTo>
                  <a:pt x="4545005" y="5713816"/>
                  <a:pt x="4313903" y="5841738"/>
                  <a:pt x="4253988" y="5884379"/>
                </a:cubicBezTo>
                <a:cubicBezTo>
                  <a:pt x="4168395" y="5944786"/>
                  <a:pt x="4071389" y="5966106"/>
                  <a:pt x="3985795" y="6069153"/>
                </a:cubicBezTo>
                <a:cubicBezTo>
                  <a:pt x="4065682" y="6086921"/>
                  <a:pt x="4134157" y="5990979"/>
                  <a:pt x="4231163" y="6030066"/>
                </a:cubicBezTo>
                <a:cubicBezTo>
                  <a:pt x="4074242" y="6133114"/>
                  <a:pt x="3931586" y="6182861"/>
                  <a:pt x="3814609" y="6317889"/>
                </a:cubicBezTo>
                <a:cubicBezTo>
                  <a:pt x="3800343" y="6335656"/>
                  <a:pt x="3771812" y="6332102"/>
                  <a:pt x="3751840" y="6339209"/>
                </a:cubicBezTo>
                <a:cubicBezTo>
                  <a:pt x="3529298" y="6406723"/>
                  <a:pt x="3309608" y="6467130"/>
                  <a:pt x="3089919" y="6563071"/>
                </a:cubicBezTo>
                <a:cubicBezTo>
                  <a:pt x="3041416" y="6584392"/>
                  <a:pt x="2955823" y="6595052"/>
                  <a:pt x="2961529" y="6662566"/>
                </a:cubicBezTo>
                <a:cubicBezTo>
                  <a:pt x="2972941" y="6765613"/>
                  <a:pt x="3055681" y="6687439"/>
                  <a:pt x="3107038" y="6673226"/>
                </a:cubicBezTo>
                <a:cubicBezTo>
                  <a:pt x="3269664" y="6634138"/>
                  <a:pt x="3432292" y="6570178"/>
                  <a:pt x="3594919" y="6591499"/>
                </a:cubicBezTo>
                <a:cubicBezTo>
                  <a:pt x="3483648" y="6637693"/>
                  <a:pt x="3372376" y="6680332"/>
                  <a:pt x="3261106" y="6726527"/>
                </a:cubicBezTo>
                <a:cubicBezTo>
                  <a:pt x="3386642" y="6705206"/>
                  <a:pt x="3495061" y="6786934"/>
                  <a:pt x="3620597" y="6740740"/>
                </a:cubicBezTo>
                <a:cubicBezTo>
                  <a:pt x="3660541" y="6726527"/>
                  <a:pt x="3700484" y="6765613"/>
                  <a:pt x="3703337" y="6826020"/>
                </a:cubicBezTo>
                <a:cubicBezTo>
                  <a:pt x="3706191" y="6847340"/>
                  <a:pt x="3700484" y="6865108"/>
                  <a:pt x="3689072" y="6879321"/>
                </a:cubicBezTo>
                <a:lnTo>
                  <a:pt x="0" y="6879321"/>
                </a:lnTo>
                <a:close/>
              </a:path>
            </a:pathLst>
          </a:cu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E377F87-4C93-8A72-6F2C-1EF2AB2DB15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3788" y="2333297"/>
            <a:ext cx="4840010" cy="384366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000" dirty="0">
                <a:ea typeface="Lato"/>
                <a:cs typeface="Lato"/>
              </a:rPr>
              <a:t>TOPIC: </a:t>
            </a:r>
            <a:r>
              <a:rPr lang="en-US" sz="2000" b="1" dirty="0">
                <a:ea typeface="Lato"/>
                <a:cs typeface="Lato"/>
              </a:rPr>
              <a:t>Respectful Care Education for Providers: </a:t>
            </a:r>
            <a:r>
              <a:rPr lang="en-US" sz="2000" dirty="0">
                <a:ea typeface="Lato"/>
                <a:cs typeface="Lato"/>
              </a:rPr>
              <a:t>Options for How to Start Making Progress</a:t>
            </a:r>
            <a:endParaRPr lang="en-US" sz="2000" dirty="0"/>
          </a:p>
          <a:p>
            <a:r>
              <a:rPr lang="en-US" sz="2000" dirty="0">
                <a:ea typeface="Lato"/>
                <a:cs typeface="Lato"/>
              </a:rPr>
              <a:t>Thursday, June 15th, 2023</a:t>
            </a:r>
            <a:endParaRPr lang="en-US" sz="2000" dirty="0"/>
          </a:p>
          <a:p>
            <a:r>
              <a:rPr lang="en-US" sz="2000" dirty="0">
                <a:ea typeface="Lato"/>
                <a:cs typeface="Lato"/>
              </a:rPr>
              <a:t>2-3pm CT</a:t>
            </a:r>
            <a:endParaRPr lang="en-US" sz="2000" dirty="0"/>
          </a:p>
          <a:p>
            <a:r>
              <a:rPr lang="en-US" sz="2000" dirty="0">
                <a:ea typeface="Lato"/>
                <a:cs typeface="Lato"/>
              </a:rPr>
              <a:t>Registration Link: </a:t>
            </a:r>
            <a:r>
              <a:rPr lang="en-US" sz="2000" dirty="0">
                <a:ea typeface="+mn-lt"/>
                <a:cs typeface="+mn-lt"/>
                <a:hlinkClick r:id="rId3"/>
              </a:rPr>
              <a:t>https://us02web.zoom.us/meeting/register/tZUqceuoqDgrHdI5askJa_GYI7veYtbHx9oq#/registration</a:t>
            </a:r>
            <a:endParaRPr lang="en-US" sz="2000" dirty="0">
              <a:ea typeface="Lato"/>
              <a:cs typeface="Lato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D29F83-6E13-0195-B2CB-671B85F09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7B0254-45E1-3396-C3A0-F54F35410FB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58572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Upcoming ILPQC BE calls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11056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Upcoming BE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7021073"/>
              </p:ext>
            </p:extLst>
          </p:nvPr>
        </p:nvGraphicFramePr>
        <p:xfrm>
          <a:off x="272814" y="1631382"/>
          <a:ext cx="9706583" cy="409773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553045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417613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BE</a:t>
                      </a:r>
                      <a:r>
                        <a:rPr lang="en-US" sz="2400" b="1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binar - July</a:t>
                      </a:r>
                      <a:endParaRPr lang="en-US" sz="24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Monday, July 17th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9692727"/>
                  </a:ext>
                </a:extLst>
              </a:tr>
              <a:tr h="721857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BE Webinar - Augus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Monday, August 21st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6575974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>
                          <a:solidFill>
                            <a:schemeClr val="accent1"/>
                          </a:solidFill>
                          <a:latin typeface="Calibri"/>
                        </a:rPr>
                        <a:t>BE QI Summer Series</a:t>
                      </a:r>
                      <a:r>
                        <a:rPr lang="en-US" sz="2400" b="1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: </a:t>
                      </a:r>
                      <a:endParaRPr lang="en-US" sz="2400" b="0" i="0" u="none" strike="noStrike" noProof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Respectful Care Breakfasts</a:t>
                      </a:r>
                      <a:endParaRPr lang="en-US"/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Patient Partner on Your QI Team</a:t>
                      </a:r>
                      <a:endParaRPr lang="en-US"/>
                    </a:p>
                    <a:p>
                      <a:pPr marL="342900" marR="0" lvl="0" indent="-34290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/>
                        <a:buChar char="•"/>
                      </a:pPr>
                      <a:r>
                        <a:rPr lang="en-US" sz="2400" b="0" i="0" u="none" strike="noStrike" noProof="0">
                          <a:solidFill>
                            <a:srgbClr val="000000"/>
                          </a:solidFill>
                          <a:latin typeface="Calibri"/>
                        </a:rPr>
                        <a:t>Linking Patients to Community Resources</a:t>
                      </a:r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June 22nd at 12pm</a:t>
                      </a:r>
                      <a:endParaRPr lang="en-US"/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July 20th at 12pm</a:t>
                      </a:r>
                    </a:p>
                    <a:p>
                      <a:pPr marL="342900" lvl="0" indent="-342900">
                        <a:buFont typeface="Arial"/>
                        <a:buChar char="•"/>
                      </a:pPr>
                      <a:r>
                        <a:rPr lang="en-US" sz="2400" b="1" i="0" u="none" strike="noStrike" kern="1200" noProof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August 24th at 12p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0094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39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4" name="Google Shape;74;p15" descr="Text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5"/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43901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Birth Equity Data Review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9734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0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2" name="Google Shape;4092;p43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3" name="Google Shape;4093;p432"/>
          <p:cNvSpPr txBox="1">
            <a:spLocks noGrp="1"/>
          </p:cNvSpPr>
          <p:nvPr>
            <p:ph type="title"/>
          </p:nvPr>
        </p:nvSpPr>
        <p:spPr>
          <a:xfrm>
            <a:off x="369188" y="659058"/>
            <a:ext cx="3834254" cy="17190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r>
              <a:rPr lang="en-US" sz="5400"/>
              <a:t>Birth Equity Initiative Aim</a:t>
            </a:r>
            <a:endParaRPr sz="5400"/>
          </a:p>
        </p:txBody>
      </p:sp>
      <p:sp>
        <p:nvSpPr>
          <p:cNvPr id="4094" name="Google Shape;4094;p432"/>
          <p:cNvSpPr/>
          <p:nvPr/>
        </p:nvSpPr>
        <p:spPr>
          <a:xfrm>
            <a:off x="643278" y="2573756"/>
            <a:ext cx="3255095" cy="18288"/>
          </a:xfrm>
          <a:custGeom>
            <a:avLst/>
            <a:gdLst/>
            <a:ahLst/>
            <a:cxnLst/>
            <a:rect l="l" t="t" r="r" b="b"/>
            <a:pathLst>
              <a:path w="3255095" h="18288" fill="none" extrusionOk="0">
                <a:moveTo>
                  <a:pt x="0" y="0"/>
                </a:moveTo>
                <a:cubicBezTo>
                  <a:pt x="240201" y="-22123"/>
                  <a:pt x="462021" y="-19623"/>
                  <a:pt x="618468" y="0"/>
                </a:cubicBezTo>
                <a:cubicBezTo>
                  <a:pt x="774915" y="19623"/>
                  <a:pt x="974734" y="2035"/>
                  <a:pt x="1269487" y="0"/>
                </a:cubicBezTo>
                <a:cubicBezTo>
                  <a:pt x="1564240" y="-2035"/>
                  <a:pt x="1733579" y="10639"/>
                  <a:pt x="1953057" y="0"/>
                </a:cubicBezTo>
                <a:cubicBezTo>
                  <a:pt x="2172535" y="-10639"/>
                  <a:pt x="2453962" y="14018"/>
                  <a:pt x="2636627" y="0"/>
                </a:cubicBezTo>
                <a:cubicBezTo>
                  <a:pt x="2819292" y="-14018"/>
                  <a:pt x="3121375" y="5399"/>
                  <a:pt x="3255095" y="0"/>
                </a:cubicBezTo>
                <a:cubicBezTo>
                  <a:pt x="3254386" y="8157"/>
                  <a:pt x="3254682" y="12125"/>
                  <a:pt x="3255095" y="18288"/>
                </a:cubicBezTo>
                <a:cubicBezTo>
                  <a:pt x="3088545" y="23203"/>
                  <a:pt x="2687475" y="7419"/>
                  <a:pt x="2538974" y="18288"/>
                </a:cubicBezTo>
                <a:cubicBezTo>
                  <a:pt x="2390473" y="29157"/>
                  <a:pt x="2137381" y="-8959"/>
                  <a:pt x="1822853" y="18288"/>
                </a:cubicBezTo>
                <a:cubicBezTo>
                  <a:pt x="1508325" y="45535"/>
                  <a:pt x="1466437" y="20385"/>
                  <a:pt x="1171834" y="18288"/>
                </a:cubicBezTo>
                <a:cubicBezTo>
                  <a:pt x="877231" y="16191"/>
                  <a:pt x="561097" y="37643"/>
                  <a:pt x="0" y="18288"/>
                </a:cubicBezTo>
                <a:cubicBezTo>
                  <a:pt x="-46" y="12483"/>
                  <a:pt x="-203" y="6491"/>
                  <a:pt x="0" y="0"/>
                </a:cubicBezTo>
                <a:close/>
              </a:path>
              <a:path w="3255095" h="18288" extrusionOk="0">
                <a:moveTo>
                  <a:pt x="0" y="0"/>
                </a:moveTo>
                <a:cubicBezTo>
                  <a:pt x="291965" y="19429"/>
                  <a:pt x="363155" y="8568"/>
                  <a:pt x="618468" y="0"/>
                </a:cubicBezTo>
                <a:cubicBezTo>
                  <a:pt x="873781" y="-8568"/>
                  <a:pt x="904459" y="-19505"/>
                  <a:pt x="1171834" y="0"/>
                </a:cubicBezTo>
                <a:cubicBezTo>
                  <a:pt x="1439209" y="19505"/>
                  <a:pt x="1744369" y="9790"/>
                  <a:pt x="1887955" y="0"/>
                </a:cubicBezTo>
                <a:cubicBezTo>
                  <a:pt x="2031541" y="-9790"/>
                  <a:pt x="2346378" y="21240"/>
                  <a:pt x="2506423" y="0"/>
                </a:cubicBezTo>
                <a:cubicBezTo>
                  <a:pt x="2666468" y="-21240"/>
                  <a:pt x="2990257" y="30414"/>
                  <a:pt x="3255095" y="0"/>
                </a:cubicBezTo>
                <a:cubicBezTo>
                  <a:pt x="3254831" y="4493"/>
                  <a:pt x="3255479" y="9472"/>
                  <a:pt x="3255095" y="18288"/>
                </a:cubicBezTo>
                <a:cubicBezTo>
                  <a:pt x="3120743" y="16690"/>
                  <a:pt x="2759628" y="42462"/>
                  <a:pt x="2604076" y="18288"/>
                </a:cubicBezTo>
                <a:cubicBezTo>
                  <a:pt x="2448524" y="-5886"/>
                  <a:pt x="2184336" y="19599"/>
                  <a:pt x="1887955" y="18288"/>
                </a:cubicBezTo>
                <a:cubicBezTo>
                  <a:pt x="1591574" y="16977"/>
                  <a:pt x="1548845" y="6870"/>
                  <a:pt x="1334589" y="18288"/>
                </a:cubicBezTo>
                <a:cubicBezTo>
                  <a:pt x="1120333" y="29706"/>
                  <a:pt x="996014" y="9662"/>
                  <a:pt x="683570" y="18288"/>
                </a:cubicBezTo>
                <a:cubicBezTo>
                  <a:pt x="371126" y="26914"/>
                  <a:pt x="198687" y="16167"/>
                  <a:pt x="0" y="18288"/>
                </a:cubicBezTo>
                <a:cubicBezTo>
                  <a:pt x="843" y="9577"/>
                  <a:pt x="371" y="690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38100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95" name="Google Shape;4095;p432"/>
          <p:cNvSpPr txBox="1">
            <a:spLocks noGrp="1"/>
          </p:cNvSpPr>
          <p:nvPr>
            <p:ph type="body" idx="1"/>
          </p:nvPr>
        </p:nvSpPr>
        <p:spPr>
          <a:xfrm>
            <a:off x="630936" y="2807208"/>
            <a:ext cx="3429000" cy="3410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2500"/>
          </a:bodyPr>
          <a:lstStyle/>
          <a:p>
            <a:pPr marL="0" indent="0" algn="ctr">
              <a:spcBef>
                <a:spcPts val="0"/>
              </a:spcBef>
              <a:buSzPct val="100000"/>
              <a:buNone/>
            </a:pPr>
            <a:r>
              <a:rPr lang="en-US" sz="3600" b="1">
                <a:solidFill>
                  <a:schemeClr val="accent1"/>
                </a:solidFill>
              </a:rPr>
              <a:t>By December 2023, ≥ 70% of participating hospitals will have implemented all key strategies</a:t>
            </a:r>
          </a:p>
        </p:txBody>
      </p:sp>
      <p:pic>
        <p:nvPicPr>
          <p:cNvPr id="4096" name="Google Shape;4096;p432" descr="Shape, square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209315" y="103728"/>
            <a:ext cx="7622789" cy="6147774"/>
          </a:xfrm>
          <a:prstGeom prst="rect">
            <a:avLst/>
          </a:prstGeom>
          <a:noFill/>
          <a:ln>
            <a:noFill/>
          </a:ln>
        </p:spPr>
      </p:pic>
      <p:sp>
        <p:nvSpPr>
          <p:cNvPr id="4097" name="Google Shape;4097;p4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4098" name="Google Shape;4098;p43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  <p:pic>
        <p:nvPicPr>
          <p:cNvPr id="4099" name="Google Shape;4099;p432" descr="Clipboard Checked with solid fill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847163" y="880702"/>
            <a:ext cx="1274190" cy="1282657"/>
          </a:xfrm>
          <a:prstGeom prst="rect">
            <a:avLst/>
          </a:prstGeom>
          <a:noFill/>
          <a:ln>
            <a:noFill/>
          </a:ln>
        </p:spPr>
      </p:pic>
      <p:sp>
        <p:nvSpPr>
          <p:cNvPr id="4100" name="Google Shape;4100;p432"/>
          <p:cNvSpPr/>
          <p:nvPr/>
        </p:nvSpPr>
        <p:spPr>
          <a:xfrm>
            <a:off x="5255845" y="197827"/>
            <a:ext cx="5529384" cy="4982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Birth Equity Key Strategies</a:t>
            </a:r>
            <a:endParaRPr/>
          </a:p>
        </p:txBody>
      </p:sp>
      <p:pic>
        <p:nvPicPr>
          <p:cNvPr id="4101" name="Google Shape;4101;p432" descr="Handshake with solid fill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295732" y="842280"/>
            <a:ext cx="1436659" cy="1407514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2" name="Google Shape;4102;p432" descr="Medical with solid fill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9913379" y="828369"/>
            <a:ext cx="1284537" cy="1265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3" name="Google Shape;4103;p432" descr="Group success outline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4679909" y="3518551"/>
            <a:ext cx="1621877" cy="1624433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4" name="Google Shape;4104;p432" descr="Cheers with solid fill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242446" y="3580351"/>
            <a:ext cx="1540139" cy="1491064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5" name="Google Shape;4105;p432" descr="Chat bubble with solid fill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9654653" y="3451473"/>
            <a:ext cx="1070892" cy="1062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4106" name="Google Shape;4106;p432" descr="Comment Heart with solid fill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10452329" y="3980349"/>
            <a:ext cx="1070340" cy="1036423"/>
          </a:xfrm>
          <a:prstGeom prst="rect">
            <a:avLst/>
          </a:prstGeom>
          <a:noFill/>
          <a:ln>
            <a:noFill/>
          </a:ln>
        </p:spPr>
      </p:pic>
      <p:sp>
        <p:nvSpPr>
          <p:cNvPr id="4107" name="Google Shape;4107;p432"/>
          <p:cNvSpPr txBox="1"/>
          <p:nvPr/>
        </p:nvSpPr>
        <p:spPr>
          <a:xfrm>
            <a:off x="4206631" y="2164861"/>
            <a:ext cx="2557585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ptimize race and ethnicity data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collection and review stratified data ​</a:t>
            </a:r>
            <a:endParaRPr/>
          </a:p>
        </p:txBody>
      </p:sp>
      <p:sp>
        <p:nvSpPr>
          <p:cNvPr id="4108" name="Google Shape;4108;p432"/>
          <p:cNvSpPr txBox="1"/>
          <p:nvPr/>
        </p:nvSpPr>
        <p:spPr>
          <a:xfrm>
            <a:off x="6727093" y="2145324"/>
            <a:ext cx="2586893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creen all patients for 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cial determinants of health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and link to needed services​</a:t>
            </a:r>
            <a:endParaRPr/>
          </a:p>
        </p:txBody>
      </p:sp>
      <p:sp>
        <p:nvSpPr>
          <p:cNvPr id="4109" name="Google Shape;4109;p432"/>
          <p:cNvSpPr txBox="1"/>
          <p:nvPr/>
        </p:nvSpPr>
        <p:spPr>
          <a:xfrm>
            <a:off x="9530862" y="2018323"/>
            <a:ext cx="2059354" cy="14773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tandardize postpartum safety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education and schedule early postpartum visit​</a:t>
            </a:r>
            <a:endParaRPr/>
          </a:p>
        </p:txBody>
      </p:sp>
      <p:sp>
        <p:nvSpPr>
          <p:cNvPr id="4110" name="Google Shape;4110;p432"/>
          <p:cNvSpPr txBox="1"/>
          <p:nvPr/>
        </p:nvSpPr>
        <p:spPr>
          <a:xfrm>
            <a:off x="4118708" y="4929554"/>
            <a:ext cx="2743200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Engage patients and community members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for quality improvement input ​</a:t>
            </a:r>
            <a:endParaRPr/>
          </a:p>
        </p:txBody>
      </p:sp>
      <p:sp>
        <p:nvSpPr>
          <p:cNvPr id="4111" name="Google Shape;4111;p432"/>
          <p:cNvSpPr txBox="1"/>
          <p:nvPr/>
        </p:nvSpPr>
        <p:spPr>
          <a:xfrm>
            <a:off x="6795477" y="4968631"/>
            <a:ext cx="2479431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mplicit bias &amp; respectful care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training for providers, nurses, other staff​</a:t>
            </a:r>
            <a:endParaRPr/>
          </a:p>
        </p:txBody>
      </p:sp>
      <p:sp>
        <p:nvSpPr>
          <p:cNvPr id="4112" name="Google Shape;4112;p432"/>
          <p:cNvSpPr txBox="1"/>
          <p:nvPr/>
        </p:nvSpPr>
        <p:spPr>
          <a:xfrm>
            <a:off x="9306170" y="4929554"/>
            <a:ext cx="2479431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hare 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pectful care practices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 and </a:t>
            </a: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rvey </a:t>
            </a:r>
            <a:r>
              <a:rPr lang="en-US"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atients on their care experience​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82701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9" name="Google Shape;4289;p443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0" name="Google Shape;4290;p443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1" name="Google Shape;4291;p443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2" name="Google Shape;4292;p443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3" name="Google Shape;4293;p443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4" name="Google Shape;4294;p443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5189DD">
                  <a:alpha val="10980"/>
                </a:srgbClr>
              </a:gs>
              <a:gs pos="100000">
                <a:srgbClr val="5189DD">
                  <a:alpha val="10980"/>
                </a:srgbClr>
              </a:gs>
            </a:gsLst>
            <a:lin ang="7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5" name="Google Shape;4295;p443"/>
          <p:cNvSpPr txBox="1">
            <a:spLocks noGrp="1"/>
          </p:cNvSpPr>
          <p:nvPr>
            <p:ph type="title"/>
          </p:nvPr>
        </p:nvSpPr>
        <p:spPr>
          <a:xfrm>
            <a:off x="418495" y="1898652"/>
            <a:ext cx="3529314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000"/>
              <a:buFont typeface="Calibri"/>
              <a:buNone/>
            </a:pPr>
            <a:r>
              <a:rPr lang="en-US" sz="4000">
                <a:solidFill>
                  <a:srgbClr val="FFFFFF"/>
                </a:solidFill>
              </a:rPr>
              <a:t>Achieving Birth Equity QI Excellence Award</a:t>
            </a:r>
            <a:br>
              <a:rPr lang="en-US" sz="4000">
                <a:solidFill>
                  <a:srgbClr val="FFFFFF"/>
                </a:solidFill>
              </a:rPr>
            </a:br>
            <a:r>
              <a:rPr lang="en-US" sz="1800" i="1">
                <a:solidFill>
                  <a:srgbClr val="FFFFFF"/>
                </a:solidFill>
              </a:rPr>
              <a:t>Will start awarding for ILPQC Annual Meeting 11/2/2023</a:t>
            </a:r>
            <a:endParaRPr sz="1800" i="1"/>
          </a:p>
        </p:txBody>
      </p:sp>
      <p:sp>
        <p:nvSpPr>
          <p:cNvPr id="4296" name="Google Shape;4296;p443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4297" name="Google Shape;4297;p443"/>
          <p:cNvSpPr txBox="1"/>
          <p:nvPr/>
        </p:nvSpPr>
        <p:spPr>
          <a:xfrm>
            <a:off x="4162340" y="506612"/>
            <a:ext cx="4997630" cy="68030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QI Excellence Award:</a:t>
            </a:r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ll data submitted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 of 7 key strategies In Place (Green)</a:t>
            </a:r>
            <a:endParaRPr/>
          </a:p>
          <a:p>
            <a:pPr marL="228600" marR="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chieving ALL goals for the following outcome &amp; process measures:</a:t>
            </a:r>
            <a:endParaRPr/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r, Nurse, &amp; Other Staff Bias Education ≥70%</a:t>
            </a:r>
            <a:endParaRPr/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DoH Delivery Admission Screening Documented ≥70%</a:t>
            </a:r>
            <a:endParaRPr/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DoH Screen Positive Linkage to Resources Documented ≥70%</a:t>
            </a:r>
            <a:endParaRPr/>
          </a:p>
          <a:p>
            <a:pPr marL="685800" marR="0" lvl="1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</a:pPr>
            <a:r>
              <a:rPr lang="en-US"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EM Completion Rate at least 25% (goal ≥40%) </a:t>
            </a:r>
            <a:endParaRPr/>
          </a:p>
          <a:p>
            <a:pPr marL="228600" marR="0" lvl="0" indent="-508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Arial"/>
              <a:buNone/>
            </a:pPr>
            <a:endParaRPr sz="2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177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</a:pPr>
            <a:endParaRPr sz="2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8" name="Google Shape;4298;p443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6</a:t>
            </a:fld>
            <a:endParaRPr sz="1100">
              <a:solidFill>
                <a:srgbClr val="9CA5AE"/>
              </a:solidFill>
            </a:endParaRPr>
          </a:p>
        </p:txBody>
      </p:sp>
      <p:grpSp>
        <p:nvGrpSpPr>
          <p:cNvPr id="4299" name="Google Shape;4299;p443"/>
          <p:cNvGrpSpPr/>
          <p:nvPr/>
        </p:nvGrpSpPr>
        <p:grpSpPr>
          <a:xfrm>
            <a:off x="9141604" y="1610574"/>
            <a:ext cx="2999430" cy="3845632"/>
            <a:chOff x="9160895" y="1436954"/>
            <a:chExt cx="2999430" cy="3845632"/>
          </a:xfrm>
        </p:grpSpPr>
        <p:pic>
          <p:nvPicPr>
            <p:cNvPr id="4300" name="Google Shape;4300;p443" descr="Diagram&#10;&#10;Description automatically generated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301" name="Google Shape;4301;p443"/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02" name="Google Shape;4302;p443"/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03" name="Google Shape;4303;p443"/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722676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5" descr="Chart, bubble chart&#10;&#10;Description automatically generated">
            <a:extLst>
              <a:ext uri="{FF2B5EF4-FFF2-40B4-BE49-F238E27FC236}">
                <a16:creationId xmlns:a16="http://schemas.microsoft.com/office/drawing/2014/main" id="{7ED2D2A4-6EF3-23CB-98DB-D368B2120F0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672" y="-1487"/>
            <a:ext cx="12203150" cy="6854777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14E4DE-4436-E40B-1BF9-992312504C69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 lang="en-US"/>
          </a:p>
        </p:txBody>
      </p:sp>
      <p:sp>
        <p:nvSpPr>
          <p:cNvPr id="7" name="Google Shape;4155;p434">
            <a:extLst>
              <a:ext uri="{FF2B5EF4-FFF2-40B4-BE49-F238E27FC236}">
                <a16:creationId xmlns:a16="http://schemas.microsoft.com/office/drawing/2014/main" id="{ABDBBDA4-CF5C-6753-17DC-9EA0225B51F4}"/>
              </a:ext>
            </a:extLst>
          </p:cNvPr>
          <p:cNvSpPr txBox="1"/>
          <p:nvPr/>
        </p:nvSpPr>
        <p:spPr>
          <a:xfrm>
            <a:off x="2056848" y="545549"/>
            <a:ext cx="258417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4%→34%</a:t>
            </a:r>
            <a:endParaRPr lang="en-US" sz="1200">
              <a:solidFill>
                <a:schemeClr val="lt1"/>
              </a:solidFill>
              <a:cs typeface="Arial"/>
            </a:endParaRPr>
          </a:p>
        </p:txBody>
      </p:sp>
      <p:sp>
        <p:nvSpPr>
          <p:cNvPr id="9" name="Google Shape;4148;p434">
            <a:extLst>
              <a:ext uri="{FF2B5EF4-FFF2-40B4-BE49-F238E27FC236}">
                <a16:creationId xmlns:a16="http://schemas.microsoft.com/office/drawing/2014/main" id="{3F9A338B-1D8C-9214-D993-399121F5DB51}"/>
              </a:ext>
            </a:extLst>
          </p:cNvPr>
          <p:cNvSpPr txBox="1"/>
          <p:nvPr/>
        </p:nvSpPr>
        <p:spPr>
          <a:xfrm>
            <a:off x="2009913" y="1369393"/>
            <a:ext cx="2341216" cy="1107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2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Engage Patients &amp; Community in QI Work</a:t>
            </a:r>
            <a:endParaRPr sz="22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" name="Google Shape;4152;p434">
            <a:extLst>
              <a:ext uri="{FF2B5EF4-FFF2-40B4-BE49-F238E27FC236}">
                <a16:creationId xmlns:a16="http://schemas.microsoft.com/office/drawing/2014/main" id="{D440B0EF-4B9F-63D5-3DE4-82E460453D25}"/>
              </a:ext>
            </a:extLst>
          </p:cNvPr>
          <p:cNvSpPr txBox="1"/>
          <p:nvPr/>
        </p:nvSpPr>
        <p:spPr>
          <a:xfrm>
            <a:off x="4923735" y="649910"/>
            <a:ext cx="258417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7%→85%</a:t>
            </a:r>
            <a:endParaRPr lang="en-US" sz="1100">
              <a:solidFill>
                <a:schemeClr val="lt1"/>
              </a:solidFill>
              <a:cs typeface="Arial"/>
            </a:endParaRPr>
          </a:p>
        </p:txBody>
      </p:sp>
      <p:sp>
        <p:nvSpPr>
          <p:cNvPr id="13" name="Google Shape;4145;p434">
            <a:extLst>
              <a:ext uri="{FF2B5EF4-FFF2-40B4-BE49-F238E27FC236}">
                <a16:creationId xmlns:a16="http://schemas.microsoft.com/office/drawing/2014/main" id="{4F4E0268-911D-7A0D-AE08-465AF724BA95}"/>
              </a:ext>
            </a:extLst>
          </p:cNvPr>
          <p:cNvSpPr txBox="1"/>
          <p:nvPr/>
        </p:nvSpPr>
        <p:spPr>
          <a:xfrm>
            <a:off x="4869622" y="1307107"/>
            <a:ext cx="263828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err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DoH</a:t>
            </a:r>
            <a:r>
              <a:rPr lang="en-US" sz="24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 Screening (L&amp;D)</a:t>
            </a:r>
            <a:endParaRPr sz="2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Google Shape;4157;p434">
            <a:extLst>
              <a:ext uri="{FF2B5EF4-FFF2-40B4-BE49-F238E27FC236}">
                <a16:creationId xmlns:a16="http://schemas.microsoft.com/office/drawing/2014/main" id="{3130C11C-1E0E-15E9-1EE8-4029F6E24744}"/>
              </a:ext>
            </a:extLst>
          </p:cNvPr>
          <p:cNvSpPr txBox="1"/>
          <p:nvPr/>
        </p:nvSpPr>
        <p:spPr>
          <a:xfrm>
            <a:off x="8062864" y="535324"/>
            <a:ext cx="258417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7%→83%</a:t>
            </a:r>
            <a:endParaRPr lang="en-US" sz="1200">
              <a:solidFill>
                <a:schemeClr val="lt1"/>
              </a:solidFill>
              <a:cs typeface="Arial"/>
            </a:endParaRPr>
          </a:p>
        </p:txBody>
      </p:sp>
      <p:sp>
        <p:nvSpPr>
          <p:cNvPr id="17" name="Google Shape;4146;p434">
            <a:extLst>
              <a:ext uri="{FF2B5EF4-FFF2-40B4-BE49-F238E27FC236}">
                <a16:creationId xmlns:a16="http://schemas.microsoft.com/office/drawing/2014/main" id="{E7835F47-0C3C-554C-FB56-953E999ADCE6}"/>
              </a:ext>
            </a:extLst>
          </p:cNvPr>
          <p:cNvSpPr txBox="1"/>
          <p:nvPr/>
        </p:nvSpPr>
        <p:spPr>
          <a:xfrm>
            <a:off x="7810500" y="1135823"/>
            <a:ext cx="266147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ccurate Self-Reported Race &amp; Ethnicity Data Collection</a:t>
            </a:r>
            <a:endParaRPr sz="20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" name="Google Shape;4156;p434">
            <a:extLst>
              <a:ext uri="{FF2B5EF4-FFF2-40B4-BE49-F238E27FC236}">
                <a16:creationId xmlns:a16="http://schemas.microsoft.com/office/drawing/2014/main" id="{BE940CCF-FF33-2BA6-4D33-914178E728DE}"/>
              </a:ext>
            </a:extLst>
          </p:cNvPr>
          <p:cNvSpPr txBox="1"/>
          <p:nvPr/>
        </p:nvSpPr>
        <p:spPr>
          <a:xfrm>
            <a:off x="9607827" y="2653893"/>
            <a:ext cx="2584173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6%→75%</a:t>
            </a:r>
            <a:endParaRPr sz="1200">
              <a:solidFill>
                <a:schemeClr val="lt1"/>
              </a:solidFill>
            </a:endParaRPr>
          </a:p>
        </p:txBody>
      </p:sp>
      <p:sp>
        <p:nvSpPr>
          <p:cNvPr id="21" name="Google Shape;4147;p434">
            <a:extLst>
              <a:ext uri="{FF2B5EF4-FFF2-40B4-BE49-F238E27FC236}">
                <a16:creationId xmlns:a16="http://schemas.microsoft.com/office/drawing/2014/main" id="{4AF67F6E-D634-2B86-82F5-ED6ADB8908D8}"/>
              </a:ext>
            </a:extLst>
          </p:cNvPr>
          <p:cNvSpPr txBox="1"/>
          <p:nvPr/>
        </p:nvSpPr>
        <p:spPr>
          <a:xfrm>
            <a:off x="9582195" y="3295175"/>
            <a:ext cx="2397274" cy="14772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Review Maternal Health Quality Data Stratified by Race, Ethnicity &amp; Insurance</a:t>
            </a: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" name="Google Shape;4158;p434">
            <a:extLst>
              <a:ext uri="{FF2B5EF4-FFF2-40B4-BE49-F238E27FC236}">
                <a16:creationId xmlns:a16="http://schemas.microsoft.com/office/drawing/2014/main" id="{9BFB738A-A4E2-EDAF-D2D8-676C23C231E5}"/>
              </a:ext>
            </a:extLst>
          </p:cNvPr>
          <p:cNvSpPr txBox="1"/>
          <p:nvPr/>
        </p:nvSpPr>
        <p:spPr>
          <a:xfrm>
            <a:off x="7410174" y="4719432"/>
            <a:ext cx="2805042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54%→92%</a:t>
            </a:r>
            <a:endParaRPr sz="1100"/>
          </a:p>
        </p:txBody>
      </p:sp>
      <p:sp>
        <p:nvSpPr>
          <p:cNvPr id="27" name="Google Shape;4151;p434">
            <a:extLst>
              <a:ext uri="{FF2B5EF4-FFF2-40B4-BE49-F238E27FC236}">
                <a16:creationId xmlns:a16="http://schemas.microsoft.com/office/drawing/2014/main" id="{D2428109-E108-93B9-61D8-3FF7ABB1D528}"/>
              </a:ext>
            </a:extLst>
          </p:cNvPr>
          <p:cNvSpPr txBox="1"/>
          <p:nvPr/>
        </p:nvSpPr>
        <p:spPr>
          <a:xfrm>
            <a:off x="7401130" y="5360517"/>
            <a:ext cx="2341216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ostpartum Safety Patient Education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" name="Google Shape;4153;p434">
            <a:extLst>
              <a:ext uri="{FF2B5EF4-FFF2-40B4-BE49-F238E27FC236}">
                <a16:creationId xmlns:a16="http://schemas.microsoft.com/office/drawing/2014/main" id="{37D16F8C-3E61-9C7C-F82F-C7EBB03E7FEB}"/>
              </a:ext>
            </a:extLst>
          </p:cNvPr>
          <p:cNvSpPr txBox="1"/>
          <p:nvPr/>
        </p:nvSpPr>
        <p:spPr>
          <a:xfrm>
            <a:off x="2164522" y="4595193"/>
            <a:ext cx="258417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9%→68%</a:t>
            </a:r>
            <a:endParaRPr sz="1100">
              <a:solidFill>
                <a:schemeClr val="lt1"/>
              </a:solidFill>
            </a:endParaRPr>
          </a:p>
        </p:txBody>
      </p:sp>
      <p:sp>
        <p:nvSpPr>
          <p:cNvPr id="31" name="Google Shape;4149;p434">
            <a:extLst>
              <a:ext uri="{FF2B5EF4-FFF2-40B4-BE49-F238E27FC236}">
                <a16:creationId xmlns:a16="http://schemas.microsoft.com/office/drawing/2014/main" id="{B44C438B-0EE9-F11A-9CB4-D5B13DBA6567}"/>
              </a:ext>
            </a:extLst>
          </p:cNvPr>
          <p:cNvSpPr txBox="1"/>
          <p:nvPr/>
        </p:nvSpPr>
        <p:spPr>
          <a:xfrm>
            <a:off x="1940891" y="5224137"/>
            <a:ext cx="281608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hare Respectful Care Strategies with Healthcare Team &amp; Patients</a:t>
            </a:r>
            <a:endParaRPr sz="20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4154;p434">
            <a:extLst>
              <a:ext uri="{FF2B5EF4-FFF2-40B4-BE49-F238E27FC236}">
                <a16:creationId xmlns:a16="http://schemas.microsoft.com/office/drawing/2014/main" id="{A350CFC1-028F-CEEE-8EDC-62EE85F47564}"/>
              </a:ext>
            </a:extLst>
          </p:cNvPr>
          <p:cNvSpPr txBox="1"/>
          <p:nvPr/>
        </p:nvSpPr>
        <p:spPr>
          <a:xfrm>
            <a:off x="376935" y="2749000"/>
            <a:ext cx="2584173" cy="6462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b="1">
                <a:solidFill>
                  <a:schemeClr val="lt1"/>
                </a:solidFill>
                <a:sym typeface="Arial"/>
              </a:rPr>
              <a:t>9%→68%</a:t>
            </a:r>
            <a:endParaRPr sz="3600">
              <a:solidFill>
                <a:schemeClr val="lt1"/>
              </a:solidFill>
            </a:endParaRPr>
          </a:p>
        </p:txBody>
      </p:sp>
      <p:sp>
        <p:nvSpPr>
          <p:cNvPr id="35" name="Google Shape;4150;p434">
            <a:extLst>
              <a:ext uri="{FF2B5EF4-FFF2-40B4-BE49-F238E27FC236}">
                <a16:creationId xmlns:a16="http://schemas.microsoft.com/office/drawing/2014/main" id="{D6E08591-D304-A253-C32C-131FB0AE6C70}"/>
              </a:ext>
            </a:extLst>
          </p:cNvPr>
          <p:cNvSpPr txBox="1"/>
          <p:nvPr/>
        </p:nvSpPr>
        <p:spPr>
          <a:xfrm>
            <a:off x="165928" y="3395290"/>
            <a:ext cx="2374346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PREM Survey Implementation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129110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417E90-5216-7B39-A4F5-CE2079287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REM Data Breakdow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5473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9" name="Google Shape;4209;p438"/>
          <p:cNvSpPr txBox="1">
            <a:spLocks noGrp="1"/>
          </p:cNvSpPr>
          <p:nvPr>
            <p:ph type="title"/>
          </p:nvPr>
        </p:nvSpPr>
        <p:spPr>
          <a:xfrm>
            <a:off x="1085" y="55088"/>
            <a:ext cx="6219825" cy="13446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/>
              <a:t>PREM Survey Completion</a:t>
            </a:r>
            <a:endParaRPr sz="4000"/>
          </a:p>
        </p:txBody>
      </p:sp>
      <p:sp>
        <p:nvSpPr>
          <p:cNvPr id="4210" name="Google Shape;4210;p43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4211" name="Google Shape;4211;p4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4212" name="Google Shape;4212;p438"/>
          <p:cNvSpPr/>
          <p:nvPr/>
        </p:nvSpPr>
        <p:spPr>
          <a:xfrm>
            <a:off x="1461722" y="1401399"/>
            <a:ext cx="3302022" cy="114466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Total PREM Surveys: </a:t>
            </a:r>
            <a:endParaRPr sz="2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n = 3,051</a:t>
            </a:r>
            <a:endParaRPr sz="2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14" name="Google Shape;4214;p438"/>
          <p:cNvSpPr/>
          <p:nvPr/>
        </p:nvSpPr>
        <p:spPr>
          <a:xfrm>
            <a:off x="7143876" y="1486795"/>
            <a:ext cx="3991764" cy="1144663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61 Hospitals have submitted PREM surveys</a:t>
            </a: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" name="Picture 3" descr="Chart, waterfall chart&#10;&#10;Description automatically generated">
            <a:extLst>
              <a:ext uri="{FF2B5EF4-FFF2-40B4-BE49-F238E27FC236}">
                <a16:creationId xmlns:a16="http://schemas.microsoft.com/office/drawing/2014/main" id="{BD3E6A67-A3F1-352A-A21C-1AE34AB505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2937" y="2632550"/>
            <a:ext cx="5865541" cy="3500998"/>
          </a:xfrm>
          <a:prstGeom prst="rect">
            <a:avLst/>
          </a:prstGeom>
        </p:spPr>
      </p:pic>
      <p:pic>
        <p:nvPicPr>
          <p:cNvPr id="2" name="Picture 3" descr="Chart&#10;&#10;Description automatically generated">
            <a:extLst>
              <a:ext uri="{FF2B5EF4-FFF2-40B4-BE49-F238E27FC236}">
                <a16:creationId xmlns:a16="http://schemas.microsoft.com/office/drawing/2014/main" id="{DDC7B0BC-FAFB-55F4-5D3D-EB889DFC6F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7863" y="2789790"/>
            <a:ext cx="5952273" cy="3186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3887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Cover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UW Health Theme">
  <a:themeElements>
    <a:clrScheme name="UW Health 1">
      <a:dk1>
        <a:srgbClr val="191919"/>
      </a:dk1>
      <a:lt1>
        <a:srgbClr val="FFFFFF"/>
      </a:lt1>
      <a:dk2>
        <a:srgbClr val="495965"/>
      </a:dk2>
      <a:lt2>
        <a:srgbClr val="EDF5F7"/>
      </a:lt2>
      <a:accent1>
        <a:srgbClr val="055EBA"/>
      </a:accent1>
      <a:accent2>
        <a:srgbClr val="31C4F0"/>
      </a:accent2>
      <a:accent3>
        <a:srgbClr val="22C4BF"/>
      </a:accent3>
      <a:accent4>
        <a:srgbClr val="EF2842"/>
      </a:accent4>
      <a:accent5>
        <a:srgbClr val="C5050C"/>
      </a:accent5>
      <a:accent6>
        <a:srgbClr val="A6AFB2"/>
      </a:accent6>
      <a:hlink>
        <a:srgbClr val="001964"/>
      </a:hlink>
      <a:folHlink>
        <a:srgbClr val="001964"/>
      </a:folHlink>
    </a:clrScheme>
    <a:fontScheme name="UW Health">
      <a:majorFont>
        <a:latin typeface="Spectral ExtraBold"/>
        <a:ea typeface=""/>
        <a:cs typeface=""/>
      </a:majorFont>
      <a:minorFont>
        <a:latin typeface="Metropoli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normAutofit/>
      </a:bodyPr>
      <a:lstStyle>
        <a:defPPr marL="571500" marR="0" indent="-571500" algn="l" defTabSz="914400" rtl="0" eaLnBrk="1" fontAlgn="ctr" latinLnBrk="0" hangingPunct="1">
          <a:lnSpc>
            <a:spcPct val="112000"/>
          </a:lnSpc>
          <a:spcBef>
            <a:spcPts val="0"/>
          </a:spcBef>
          <a:spcAft>
            <a:spcPts val="600"/>
          </a:spcAft>
          <a:buClr>
            <a:srgbClr val="055EBA"/>
          </a:buClr>
          <a:buSzPct val="120000"/>
          <a:buFont typeface="System Font Regular"/>
          <a:buChar char="○"/>
          <a:tabLst/>
          <a:defRPr kumimoji="0" sz="3600" b="1" i="0" u="none" strike="noStrike" kern="1200" cap="none" spc="0" normalizeH="0" baseline="0" noProof="0" dirty="0" smtClean="0">
            <a:ln>
              <a:noFill/>
            </a:ln>
            <a:solidFill>
              <a:srgbClr val="191919">
                <a:lumMod val="90000"/>
                <a:lumOff val="10000"/>
              </a:srgbClr>
            </a:solidFill>
            <a:effectLst/>
            <a:uLnTx/>
            <a:uFillTx/>
            <a:latin typeface="Metropolis Light" pitchFamily="2" charset="77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-458768-20 uwhealth.potx" id="{85534CA5-12C9-40B3-B488-B70B3BC8B9BB}" vid="{FDA7F7C9-121D-430D-A8BE-AF49E8ABE5C8}"/>
    </a:ext>
  </a:extLst>
</a:theme>
</file>

<file path=ppt/theme/theme13.xml><?xml version="1.0" encoding="utf-8"?>
<a:theme xmlns:a="http://schemas.openxmlformats.org/drawingml/2006/main" name="AAH Theme">
  <a:themeElements>
    <a:clrScheme name="AAH Brand Colors 2019">
      <a:dk1>
        <a:srgbClr val="000000"/>
      </a:dk1>
      <a:lt1>
        <a:srgbClr val="FFFFFF"/>
      </a:lt1>
      <a:dk2>
        <a:srgbClr val="00304B"/>
      </a:dk2>
      <a:lt2>
        <a:srgbClr val="A3A8AB"/>
      </a:lt2>
      <a:accent1>
        <a:srgbClr val="4A1852"/>
      </a:accent1>
      <a:accent2>
        <a:srgbClr val="00A5D5"/>
      </a:accent2>
      <a:accent3>
        <a:srgbClr val="004239"/>
      </a:accent3>
      <a:accent4>
        <a:srgbClr val="A1CB67"/>
      </a:accent4>
      <a:accent5>
        <a:srgbClr val="ED9F33"/>
      </a:accent5>
      <a:accent6>
        <a:srgbClr val="B43984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AH Theme" id="{AC0099BC-DA7D-2145-956E-AA7DB1F3AC17}" vid="{BE8CB45D-4617-B54D-96AF-9536AE24182E}"/>
    </a:ext>
  </a:extLst>
</a:theme>
</file>

<file path=ppt/theme/theme14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Section 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8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9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0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8</TotalTime>
  <Words>1716</Words>
  <Application>Microsoft Office PowerPoint</Application>
  <PresentationFormat>Widescreen</PresentationFormat>
  <Paragraphs>242</Paragraphs>
  <Slides>39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70" baseType="lpstr">
      <vt:lpstr>Arial</vt:lpstr>
      <vt:lpstr>Calibri</vt:lpstr>
      <vt:lpstr>Courier New</vt:lpstr>
      <vt:lpstr>Helvetica Neue</vt:lpstr>
      <vt:lpstr>Helvetica Neue Medium</vt:lpstr>
      <vt:lpstr>Metropolis</vt:lpstr>
      <vt:lpstr>Metropolis Extra Light</vt:lpstr>
      <vt:lpstr>Metropolis Light</vt:lpstr>
      <vt:lpstr>Noto Sans Symbols</vt:lpstr>
      <vt:lpstr>Spectral ExtraBold</vt:lpstr>
      <vt:lpstr>System Font Regular</vt:lpstr>
      <vt:lpstr>Verdana</vt:lpstr>
      <vt:lpstr>Wingdings</vt:lpstr>
      <vt:lpstr>3_Office Theme</vt:lpstr>
      <vt:lpstr>3_Custom Design</vt:lpstr>
      <vt:lpstr>2_Custom Design</vt:lpstr>
      <vt:lpstr>3_Section Master</vt:lpstr>
      <vt:lpstr>14_Custom Design</vt:lpstr>
      <vt:lpstr>7_Custom Design</vt:lpstr>
      <vt:lpstr>8_Custom Design</vt:lpstr>
      <vt:lpstr>9_Custom Design</vt:lpstr>
      <vt:lpstr>10_Custom Design</vt:lpstr>
      <vt:lpstr>Cover Master</vt:lpstr>
      <vt:lpstr>4_Office Theme</vt:lpstr>
      <vt:lpstr>UW Health Theme</vt:lpstr>
      <vt:lpstr>AAH Theme</vt:lpstr>
      <vt:lpstr>5_Office Theme</vt:lpstr>
      <vt:lpstr>6_Office Theme</vt:lpstr>
      <vt:lpstr>1_Office Theme</vt:lpstr>
      <vt:lpstr>Simple Light</vt:lpstr>
      <vt:lpstr>think-cell Slide</vt:lpstr>
      <vt:lpstr>BE Teams Call: Key Takeaways from F2F and Next Steps for Getting to Green on Key Strategies</vt:lpstr>
      <vt:lpstr>Call Overview</vt:lpstr>
      <vt:lpstr>PowerPoint Presentation</vt:lpstr>
      <vt:lpstr>Birth Equity Data Review</vt:lpstr>
      <vt:lpstr>Birth Equity Initiative Aim</vt:lpstr>
      <vt:lpstr>Achieving Birth Equity QI Excellence Award Will start awarding for ILPQC Annual Meeting 11/2/2023</vt:lpstr>
      <vt:lpstr>PowerPoint Presentation</vt:lpstr>
      <vt:lpstr>PREM Data Breakdown</vt:lpstr>
      <vt:lpstr>PREM Survey Completion</vt:lpstr>
      <vt:lpstr>Summary of PREM Survey Completion: Demographic Breakdown </vt:lpstr>
      <vt:lpstr>Key Takeaways from Face-to-Face</vt:lpstr>
      <vt:lpstr>LaPQC: Achieving Safe, Equitable, and Dignified Births Dr. Veronica Gillispie-Bell</vt:lpstr>
      <vt:lpstr>Engaging Patient/Community Partners to Optimize Birth Equity Dr. Ebony Carter, Cheron Phillips, and Richelle Smith</vt:lpstr>
      <vt:lpstr>Face-to-Face  Breakout  Session Debrief</vt:lpstr>
      <vt:lpstr>Getting to Green on Key Strategies</vt:lpstr>
      <vt:lpstr>Social Determinants of Health Screening (L&amp;D)</vt:lpstr>
      <vt:lpstr>Optimize Collection and Accuracy of Self-Reported Race and Ethnicity</vt:lpstr>
      <vt:lpstr>Review Maternal Health Quality Data Stratified by Race, Ethnicity, and Insurance Status</vt:lpstr>
      <vt:lpstr>Sharing Respectful Care Strategies with Healthcare Team and Patients</vt:lpstr>
      <vt:lpstr>PREM Survey Implementation</vt:lpstr>
      <vt:lpstr>Engage Patients and Community in QI Work</vt:lpstr>
      <vt:lpstr>Postpartum Safety Patient Education</vt:lpstr>
      <vt:lpstr>Respectful Care Breakfast – Team Update</vt:lpstr>
      <vt:lpstr>Congrats to Memorial Hospital of Carbondale for hosting their first Respectful Care Breakfast!</vt:lpstr>
      <vt:lpstr>Respectful Care Breakfast Planning Resource</vt:lpstr>
      <vt:lpstr>Post-Event Survey</vt:lpstr>
      <vt:lpstr>Our ILPQC goal for Patient Engagement</vt:lpstr>
      <vt:lpstr>Introducing... Birth Equity QI Summer Series!</vt:lpstr>
      <vt:lpstr>PowerPoint Presentation</vt:lpstr>
      <vt:lpstr>Additional Resources / Announcements</vt:lpstr>
      <vt:lpstr>Update: Diversity Science eModules </vt:lpstr>
      <vt:lpstr>Other Educational Resources Visit ilpqc.org to access via the online BE toolkit!</vt:lpstr>
      <vt:lpstr>ILPQC-Sponsored – FREE AWHONN Resource for your Respectful Care work:  Respectful Maternity Care Guideline  (RMC-EBG) &amp;  Implementation Toolkit (RMC-IT)</vt:lpstr>
      <vt:lpstr>Host toolkit for Aftershock viewing with your clinical team </vt:lpstr>
      <vt:lpstr>Watch Birthing Justice: FREE on PBS!</vt:lpstr>
      <vt:lpstr>Attend AIM TAP Webinar on June 15th!</vt:lpstr>
      <vt:lpstr>Upcoming ILPQC BE calls</vt:lpstr>
      <vt:lpstr>Upcoming BE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ena Lida Surenian</dc:creator>
  <cp:lastModifiedBy>Aleena Lida Surenian</cp:lastModifiedBy>
  <cp:revision>81</cp:revision>
  <dcterms:created xsi:type="dcterms:W3CDTF">2023-02-21T14:56:45Z</dcterms:created>
  <dcterms:modified xsi:type="dcterms:W3CDTF">2023-06-06T15:12:07Z</dcterms:modified>
</cp:coreProperties>
</file>